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0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tags/tag35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tags/tag36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tags/tag37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  <p:sldMasterId id="2147483728" r:id="rId2"/>
    <p:sldMasterId id="2147483749" r:id="rId3"/>
    <p:sldMasterId id="2147483785" r:id="rId4"/>
    <p:sldMasterId id="2147483825" r:id="rId5"/>
    <p:sldMasterId id="2147483837" r:id="rId6"/>
    <p:sldMasterId id="2147483916" r:id="rId7"/>
    <p:sldMasterId id="2147483955" r:id="rId8"/>
    <p:sldMasterId id="2147483960" r:id="rId9"/>
    <p:sldMasterId id="2147483965" r:id="rId10"/>
    <p:sldMasterId id="2147483973" r:id="rId11"/>
    <p:sldMasterId id="2147483997" r:id="rId12"/>
    <p:sldMasterId id="2147484016" r:id="rId13"/>
    <p:sldMasterId id="2147484022" r:id="rId14"/>
  </p:sldMasterIdLst>
  <p:notesMasterIdLst>
    <p:notesMasterId r:id="rId29"/>
  </p:notesMasterIdLst>
  <p:sldIdLst>
    <p:sldId id="328" r:id="rId15"/>
    <p:sldId id="386" r:id="rId16"/>
    <p:sldId id="397" r:id="rId17"/>
    <p:sldId id="392" r:id="rId18"/>
    <p:sldId id="398" r:id="rId19"/>
    <p:sldId id="399" r:id="rId20"/>
    <p:sldId id="395" r:id="rId21"/>
    <p:sldId id="403" r:id="rId22"/>
    <p:sldId id="382" r:id="rId23"/>
    <p:sldId id="408" r:id="rId24"/>
    <p:sldId id="409" r:id="rId25"/>
    <p:sldId id="401" r:id="rId26"/>
    <p:sldId id="346" r:id="rId27"/>
    <p:sldId id="410" r:id="rId28"/>
  </p:sldIdLst>
  <p:sldSz cx="9144000" cy="6858000" type="screen4x3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31D"/>
    <a:srgbClr val="003300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4465" autoAdjust="0"/>
    <p:restoredTop sz="91697" autoAdjust="0"/>
  </p:normalViewPr>
  <p:slideViewPr>
    <p:cSldViewPr>
      <p:cViewPr>
        <p:scale>
          <a:sx n="66" d="100"/>
          <a:sy n="66" d="100"/>
        </p:scale>
        <p:origin x="-1272" y="-1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21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99B9CA-7B02-41C1-B4DB-78EA0DDA9960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6EA537D7-49AC-4835-BC02-811ADA585541}">
      <dgm:prSet phldrT="[Text]" custT="1"/>
      <dgm:spPr>
        <a:solidFill>
          <a:srgbClr val="FF9900"/>
        </a:solidFill>
      </dgm:spPr>
      <dgm:t>
        <a:bodyPr/>
        <a:lstStyle/>
        <a:p>
          <a:r>
            <a:rPr lang="en-US" sz="2000" b="1" dirty="0" err="1" smtClean="0"/>
            <a:t>Milkcan</a:t>
          </a:r>
          <a:endParaRPr lang="en-US" sz="2000" b="1" dirty="0"/>
        </a:p>
      </dgm:t>
    </dgm:pt>
    <dgm:pt modelId="{1606E1B5-4BB2-4DC1-9707-620EF5CB07D2}" type="parTrans" cxnId="{18F8366A-BB64-428B-8E4E-41C3DD8B059A}">
      <dgm:prSet/>
      <dgm:spPr/>
      <dgm:t>
        <a:bodyPr/>
        <a:lstStyle/>
        <a:p>
          <a:endParaRPr lang="en-US"/>
        </a:p>
      </dgm:t>
    </dgm:pt>
    <dgm:pt modelId="{B9ACAB72-DC86-4695-BFE5-AEB467BB85AD}" type="sibTrans" cxnId="{18F8366A-BB64-428B-8E4E-41C3DD8B059A}">
      <dgm:prSet/>
      <dgm:spPr/>
      <dgm:t>
        <a:bodyPr/>
        <a:lstStyle/>
        <a:p>
          <a:endParaRPr lang="en-US"/>
        </a:p>
      </dgm:t>
    </dgm:pt>
    <dgm:pt modelId="{23283878-92CD-4A18-A172-609191D7DE5B}">
      <dgm:prSet phldrT="[Text]" custT="1"/>
      <dgm:spPr/>
      <dgm:t>
        <a:bodyPr/>
        <a:lstStyle/>
        <a:p>
          <a:r>
            <a:rPr lang="en-US" sz="2000" b="0" dirty="0" smtClean="0"/>
            <a:t>Cleaning Udder </a:t>
          </a:r>
          <a:endParaRPr lang="en-US" sz="2000" b="0" dirty="0"/>
        </a:p>
      </dgm:t>
    </dgm:pt>
    <dgm:pt modelId="{BFA3BF83-AD8E-4E1A-81A7-82F10E6A26ED}" type="parTrans" cxnId="{0F32049F-3E18-4975-B580-F17CD4AFBF4C}">
      <dgm:prSet/>
      <dgm:spPr/>
      <dgm:t>
        <a:bodyPr/>
        <a:lstStyle/>
        <a:p>
          <a:endParaRPr lang="en-US"/>
        </a:p>
      </dgm:t>
    </dgm:pt>
    <dgm:pt modelId="{1410CB27-7A71-4D18-B534-5DC5BF1B2575}" type="sibTrans" cxnId="{0F32049F-3E18-4975-B580-F17CD4AFBF4C}">
      <dgm:prSet/>
      <dgm:spPr/>
      <dgm:t>
        <a:bodyPr/>
        <a:lstStyle/>
        <a:p>
          <a:endParaRPr lang="en-US"/>
        </a:p>
      </dgm:t>
    </dgm:pt>
    <dgm:pt modelId="{F1FC742A-CA3B-4EBE-9C21-64EA920A504C}">
      <dgm:prSet phldrT="[Text]" custT="1"/>
      <dgm:spPr>
        <a:solidFill>
          <a:srgbClr val="CC3399"/>
        </a:solidFill>
      </dgm:spPr>
      <dgm:t>
        <a:bodyPr/>
        <a:lstStyle/>
        <a:p>
          <a:r>
            <a:rPr lang="en-US" sz="1800" b="1" dirty="0" smtClean="0"/>
            <a:t>First Milking</a:t>
          </a:r>
          <a:endParaRPr lang="en-US" sz="1800" b="1" dirty="0"/>
        </a:p>
      </dgm:t>
    </dgm:pt>
    <dgm:pt modelId="{0A3F6BC3-F170-4BCE-9757-2B3534A72FB1}" type="parTrans" cxnId="{8603BD50-2C46-4D4B-8B37-CC77FBD44CC9}">
      <dgm:prSet/>
      <dgm:spPr/>
      <dgm:t>
        <a:bodyPr/>
        <a:lstStyle/>
        <a:p>
          <a:endParaRPr lang="en-US"/>
        </a:p>
      </dgm:t>
    </dgm:pt>
    <dgm:pt modelId="{AC0456A3-84AD-4A12-AE97-EA6A272A8810}" type="sibTrans" cxnId="{8603BD50-2C46-4D4B-8B37-CC77FBD44CC9}">
      <dgm:prSet/>
      <dgm:spPr/>
      <dgm:t>
        <a:bodyPr/>
        <a:lstStyle/>
        <a:p>
          <a:endParaRPr lang="en-US"/>
        </a:p>
      </dgm:t>
    </dgm:pt>
    <dgm:pt modelId="{E2980667-3854-4716-9394-9781E8766F4C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800" b="1" dirty="0" smtClean="0"/>
            <a:t>Filtering</a:t>
          </a:r>
          <a:endParaRPr lang="en-US" sz="1800" b="1" dirty="0"/>
        </a:p>
      </dgm:t>
    </dgm:pt>
    <dgm:pt modelId="{5438A156-6ECC-43F5-A2C0-5766358EA461}" type="parTrans" cxnId="{CAEF4CDD-C4CA-4F43-98C2-F2C5C3FAC22A}">
      <dgm:prSet/>
      <dgm:spPr/>
      <dgm:t>
        <a:bodyPr/>
        <a:lstStyle/>
        <a:p>
          <a:endParaRPr lang="en-US"/>
        </a:p>
      </dgm:t>
    </dgm:pt>
    <dgm:pt modelId="{30A6D380-AE8B-42B2-867C-61C0775B55E4}" type="sibTrans" cxnId="{CAEF4CDD-C4CA-4F43-98C2-F2C5C3FAC22A}">
      <dgm:prSet/>
      <dgm:spPr/>
      <dgm:t>
        <a:bodyPr/>
        <a:lstStyle/>
        <a:p>
          <a:endParaRPr lang="en-US"/>
        </a:p>
      </dgm:t>
    </dgm:pt>
    <dgm:pt modelId="{8309FB3E-8064-4D65-A256-A60E273B707D}" type="pres">
      <dgm:prSet presAssocID="{6F99B9CA-7B02-41C1-B4DB-78EA0DDA9960}" presName="compositeShape" presStyleCnt="0">
        <dgm:presLayoutVars>
          <dgm:chMax val="7"/>
          <dgm:dir/>
          <dgm:resizeHandles val="exact"/>
        </dgm:presLayoutVars>
      </dgm:prSet>
      <dgm:spPr/>
    </dgm:pt>
    <dgm:pt modelId="{D335D06F-CDC9-4E8B-A67C-DE37BC65D0BB}" type="pres">
      <dgm:prSet presAssocID="{6F99B9CA-7B02-41C1-B4DB-78EA0DDA9960}" presName="wedge1" presStyleLbl="node1" presStyleIdx="0" presStyleCnt="4"/>
      <dgm:spPr/>
      <dgm:t>
        <a:bodyPr/>
        <a:lstStyle/>
        <a:p>
          <a:endParaRPr lang="en-US"/>
        </a:p>
      </dgm:t>
    </dgm:pt>
    <dgm:pt modelId="{EB69AC8E-3FAE-46B9-BE37-782C0EA8EC4F}" type="pres">
      <dgm:prSet presAssocID="{6F99B9CA-7B02-41C1-B4DB-78EA0DDA9960}" presName="dummy1a" presStyleCnt="0"/>
      <dgm:spPr/>
    </dgm:pt>
    <dgm:pt modelId="{84EAB1D1-AC8B-4DF7-BB13-CDE5B145404F}" type="pres">
      <dgm:prSet presAssocID="{6F99B9CA-7B02-41C1-B4DB-78EA0DDA9960}" presName="dummy1b" presStyleCnt="0"/>
      <dgm:spPr/>
    </dgm:pt>
    <dgm:pt modelId="{A9CA206E-2242-47C5-B356-5DA96E9F9022}" type="pres">
      <dgm:prSet presAssocID="{6F99B9CA-7B02-41C1-B4DB-78EA0DDA9960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9F1CD8-AF04-4344-AD14-044778C0480F}" type="pres">
      <dgm:prSet presAssocID="{6F99B9CA-7B02-41C1-B4DB-78EA0DDA9960}" presName="wedge2" presStyleLbl="node1" presStyleIdx="1" presStyleCnt="4"/>
      <dgm:spPr/>
      <dgm:t>
        <a:bodyPr/>
        <a:lstStyle/>
        <a:p>
          <a:endParaRPr lang="en-US"/>
        </a:p>
      </dgm:t>
    </dgm:pt>
    <dgm:pt modelId="{B2243F09-DB23-408E-BBF7-F8C9A8279CB8}" type="pres">
      <dgm:prSet presAssocID="{6F99B9CA-7B02-41C1-B4DB-78EA0DDA9960}" presName="dummy2a" presStyleCnt="0"/>
      <dgm:spPr/>
    </dgm:pt>
    <dgm:pt modelId="{A7CB3719-3589-4464-8F11-6C532C9B31F2}" type="pres">
      <dgm:prSet presAssocID="{6F99B9CA-7B02-41C1-B4DB-78EA0DDA9960}" presName="dummy2b" presStyleCnt="0"/>
      <dgm:spPr/>
    </dgm:pt>
    <dgm:pt modelId="{72F123CE-1DFD-4801-9373-39A733481E82}" type="pres">
      <dgm:prSet presAssocID="{6F99B9CA-7B02-41C1-B4DB-78EA0DDA9960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672D9D-05D5-412C-A96D-CBCD91A5AEB4}" type="pres">
      <dgm:prSet presAssocID="{6F99B9CA-7B02-41C1-B4DB-78EA0DDA9960}" presName="wedge3" presStyleLbl="node1" presStyleIdx="2" presStyleCnt="4"/>
      <dgm:spPr/>
      <dgm:t>
        <a:bodyPr/>
        <a:lstStyle/>
        <a:p>
          <a:endParaRPr lang="en-US"/>
        </a:p>
      </dgm:t>
    </dgm:pt>
    <dgm:pt modelId="{5103FD15-E1F5-4DD9-9A06-F24A1C1818A9}" type="pres">
      <dgm:prSet presAssocID="{6F99B9CA-7B02-41C1-B4DB-78EA0DDA9960}" presName="dummy3a" presStyleCnt="0"/>
      <dgm:spPr/>
    </dgm:pt>
    <dgm:pt modelId="{D376EBE2-847A-4476-AB1A-893134744C19}" type="pres">
      <dgm:prSet presAssocID="{6F99B9CA-7B02-41C1-B4DB-78EA0DDA9960}" presName="dummy3b" presStyleCnt="0"/>
      <dgm:spPr/>
    </dgm:pt>
    <dgm:pt modelId="{3A5F95BB-C0C2-4BA3-8DC2-D7F0BB92C77C}" type="pres">
      <dgm:prSet presAssocID="{6F99B9CA-7B02-41C1-B4DB-78EA0DDA9960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C69124-7208-4461-A63C-7E873BA1D083}" type="pres">
      <dgm:prSet presAssocID="{6F99B9CA-7B02-41C1-B4DB-78EA0DDA9960}" presName="wedge4" presStyleLbl="node1" presStyleIdx="3" presStyleCnt="4"/>
      <dgm:spPr/>
      <dgm:t>
        <a:bodyPr/>
        <a:lstStyle/>
        <a:p>
          <a:endParaRPr lang="en-US"/>
        </a:p>
      </dgm:t>
    </dgm:pt>
    <dgm:pt modelId="{672FFE78-5405-43A6-A790-BBE587A6D161}" type="pres">
      <dgm:prSet presAssocID="{6F99B9CA-7B02-41C1-B4DB-78EA0DDA9960}" presName="dummy4a" presStyleCnt="0"/>
      <dgm:spPr/>
    </dgm:pt>
    <dgm:pt modelId="{A6B31A8C-56CA-4093-B510-F0B2FCC49DB5}" type="pres">
      <dgm:prSet presAssocID="{6F99B9CA-7B02-41C1-B4DB-78EA0DDA9960}" presName="dummy4b" presStyleCnt="0"/>
      <dgm:spPr/>
    </dgm:pt>
    <dgm:pt modelId="{AF3D3362-00E5-4718-A001-B145CD6B9392}" type="pres">
      <dgm:prSet presAssocID="{6F99B9CA-7B02-41C1-B4DB-78EA0DDA9960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368617-0E3D-4040-BFE2-8EF15863DC6F}" type="pres">
      <dgm:prSet presAssocID="{B9ACAB72-DC86-4695-BFE5-AEB467BB85AD}" presName="arrowWedge1" presStyleLbl="fgSibTrans2D1" presStyleIdx="0" presStyleCnt="4" custLinFactNeighborX="-648"/>
      <dgm:spPr/>
    </dgm:pt>
    <dgm:pt modelId="{302A3635-5370-4DB9-8571-CCC3AB905839}" type="pres">
      <dgm:prSet presAssocID="{1410CB27-7A71-4D18-B534-5DC5BF1B2575}" presName="arrowWedge2" presStyleLbl="fgSibTrans2D1" presStyleIdx="1" presStyleCnt="4"/>
      <dgm:spPr/>
    </dgm:pt>
    <dgm:pt modelId="{C4C0E83F-1EE8-4696-985B-EEAA9EC4B057}" type="pres">
      <dgm:prSet presAssocID="{AC0456A3-84AD-4A12-AE97-EA6A272A8810}" presName="arrowWedge3" presStyleLbl="fgSibTrans2D1" presStyleIdx="2" presStyleCnt="4"/>
      <dgm:spPr/>
    </dgm:pt>
    <dgm:pt modelId="{1FAB1A72-4DFD-493D-9906-6CA9B78A7C36}" type="pres">
      <dgm:prSet presAssocID="{30A6D380-AE8B-42B2-867C-61C0775B55E4}" presName="arrowWedge4" presStyleLbl="fgSibTrans2D1" presStyleIdx="3" presStyleCnt="4"/>
      <dgm:spPr/>
    </dgm:pt>
  </dgm:ptLst>
  <dgm:cxnLst>
    <dgm:cxn modelId="{3CBC5AA9-560A-4358-A302-464034402BE3}" type="presOf" srcId="{23283878-92CD-4A18-A172-609191D7DE5B}" destId="{72F123CE-1DFD-4801-9373-39A733481E82}" srcOrd="1" destOrd="0" presId="urn:microsoft.com/office/officeart/2005/8/layout/cycle8"/>
    <dgm:cxn modelId="{CAEF4CDD-C4CA-4F43-98C2-F2C5C3FAC22A}" srcId="{6F99B9CA-7B02-41C1-B4DB-78EA0DDA9960}" destId="{E2980667-3854-4716-9394-9781E8766F4C}" srcOrd="3" destOrd="0" parTransId="{5438A156-6ECC-43F5-A2C0-5766358EA461}" sibTransId="{30A6D380-AE8B-42B2-867C-61C0775B55E4}"/>
    <dgm:cxn modelId="{5A7A8D36-D94F-4315-BEEB-AEA641167CBA}" type="presOf" srcId="{23283878-92CD-4A18-A172-609191D7DE5B}" destId="{509F1CD8-AF04-4344-AD14-044778C0480F}" srcOrd="0" destOrd="0" presId="urn:microsoft.com/office/officeart/2005/8/layout/cycle8"/>
    <dgm:cxn modelId="{0F32049F-3E18-4975-B580-F17CD4AFBF4C}" srcId="{6F99B9CA-7B02-41C1-B4DB-78EA0DDA9960}" destId="{23283878-92CD-4A18-A172-609191D7DE5B}" srcOrd="1" destOrd="0" parTransId="{BFA3BF83-AD8E-4E1A-81A7-82F10E6A26ED}" sibTransId="{1410CB27-7A71-4D18-B534-5DC5BF1B2575}"/>
    <dgm:cxn modelId="{8603BD50-2C46-4D4B-8B37-CC77FBD44CC9}" srcId="{6F99B9CA-7B02-41C1-B4DB-78EA0DDA9960}" destId="{F1FC742A-CA3B-4EBE-9C21-64EA920A504C}" srcOrd="2" destOrd="0" parTransId="{0A3F6BC3-F170-4BCE-9757-2B3534A72FB1}" sibTransId="{AC0456A3-84AD-4A12-AE97-EA6A272A8810}"/>
    <dgm:cxn modelId="{18F8366A-BB64-428B-8E4E-41C3DD8B059A}" srcId="{6F99B9CA-7B02-41C1-B4DB-78EA0DDA9960}" destId="{6EA537D7-49AC-4835-BC02-811ADA585541}" srcOrd="0" destOrd="0" parTransId="{1606E1B5-4BB2-4DC1-9707-620EF5CB07D2}" sibTransId="{B9ACAB72-DC86-4695-BFE5-AEB467BB85AD}"/>
    <dgm:cxn modelId="{6D4E551D-8E06-4458-A9E0-16375DD43D5A}" type="presOf" srcId="{6EA537D7-49AC-4835-BC02-811ADA585541}" destId="{A9CA206E-2242-47C5-B356-5DA96E9F9022}" srcOrd="1" destOrd="0" presId="urn:microsoft.com/office/officeart/2005/8/layout/cycle8"/>
    <dgm:cxn modelId="{B4B0417A-7613-4AF1-8D9E-84FD0651F429}" type="presOf" srcId="{F1FC742A-CA3B-4EBE-9C21-64EA920A504C}" destId="{3A5F95BB-C0C2-4BA3-8DC2-D7F0BB92C77C}" srcOrd="1" destOrd="0" presId="urn:microsoft.com/office/officeart/2005/8/layout/cycle8"/>
    <dgm:cxn modelId="{DFF7F8CF-9624-4CB4-AA95-0D4E878F005A}" type="presOf" srcId="{E2980667-3854-4716-9394-9781E8766F4C}" destId="{8DC69124-7208-4461-A63C-7E873BA1D083}" srcOrd="0" destOrd="0" presId="urn:microsoft.com/office/officeart/2005/8/layout/cycle8"/>
    <dgm:cxn modelId="{B3B57E05-4E72-436C-9F28-23E7E2A3F98F}" type="presOf" srcId="{F1FC742A-CA3B-4EBE-9C21-64EA920A504C}" destId="{D7672D9D-05D5-412C-A96D-CBCD91A5AEB4}" srcOrd="0" destOrd="0" presId="urn:microsoft.com/office/officeart/2005/8/layout/cycle8"/>
    <dgm:cxn modelId="{B4376B09-E56C-4D91-A914-DCD7BF648245}" type="presOf" srcId="{E2980667-3854-4716-9394-9781E8766F4C}" destId="{AF3D3362-00E5-4718-A001-B145CD6B9392}" srcOrd="1" destOrd="0" presId="urn:microsoft.com/office/officeart/2005/8/layout/cycle8"/>
    <dgm:cxn modelId="{C1C24C90-EAD2-402F-B6C1-452CC40C1F8C}" type="presOf" srcId="{6EA537D7-49AC-4835-BC02-811ADA585541}" destId="{D335D06F-CDC9-4E8B-A67C-DE37BC65D0BB}" srcOrd="0" destOrd="0" presId="urn:microsoft.com/office/officeart/2005/8/layout/cycle8"/>
    <dgm:cxn modelId="{BF51AF5A-C43E-484A-8498-3C09075E54A5}" type="presOf" srcId="{6F99B9CA-7B02-41C1-B4DB-78EA0DDA9960}" destId="{8309FB3E-8064-4D65-A256-A60E273B707D}" srcOrd="0" destOrd="0" presId="urn:microsoft.com/office/officeart/2005/8/layout/cycle8"/>
    <dgm:cxn modelId="{111A1E94-E15A-4CE5-84BA-11CF8AB36F48}" type="presParOf" srcId="{8309FB3E-8064-4D65-A256-A60E273B707D}" destId="{D335D06F-CDC9-4E8B-A67C-DE37BC65D0BB}" srcOrd="0" destOrd="0" presId="urn:microsoft.com/office/officeart/2005/8/layout/cycle8"/>
    <dgm:cxn modelId="{1830FA81-E3B0-46D7-A26A-0B49CB8180FE}" type="presParOf" srcId="{8309FB3E-8064-4D65-A256-A60E273B707D}" destId="{EB69AC8E-3FAE-46B9-BE37-782C0EA8EC4F}" srcOrd="1" destOrd="0" presId="urn:microsoft.com/office/officeart/2005/8/layout/cycle8"/>
    <dgm:cxn modelId="{FCB3FB94-BF38-4E2A-A3BA-A78D6E40C5F1}" type="presParOf" srcId="{8309FB3E-8064-4D65-A256-A60E273B707D}" destId="{84EAB1D1-AC8B-4DF7-BB13-CDE5B145404F}" srcOrd="2" destOrd="0" presId="urn:microsoft.com/office/officeart/2005/8/layout/cycle8"/>
    <dgm:cxn modelId="{F2CB3915-96F1-4BCE-8C39-B132A063308A}" type="presParOf" srcId="{8309FB3E-8064-4D65-A256-A60E273B707D}" destId="{A9CA206E-2242-47C5-B356-5DA96E9F9022}" srcOrd="3" destOrd="0" presId="urn:microsoft.com/office/officeart/2005/8/layout/cycle8"/>
    <dgm:cxn modelId="{0A18D6E5-34A6-45A0-BE22-29817E42B73D}" type="presParOf" srcId="{8309FB3E-8064-4D65-A256-A60E273B707D}" destId="{509F1CD8-AF04-4344-AD14-044778C0480F}" srcOrd="4" destOrd="0" presId="urn:microsoft.com/office/officeart/2005/8/layout/cycle8"/>
    <dgm:cxn modelId="{1C6B6D0F-1499-4345-91E9-69B80800FCD6}" type="presParOf" srcId="{8309FB3E-8064-4D65-A256-A60E273B707D}" destId="{B2243F09-DB23-408E-BBF7-F8C9A8279CB8}" srcOrd="5" destOrd="0" presId="urn:microsoft.com/office/officeart/2005/8/layout/cycle8"/>
    <dgm:cxn modelId="{88EB6AF3-17B0-47E6-A19B-B93B7B4BE092}" type="presParOf" srcId="{8309FB3E-8064-4D65-A256-A60E273B707D}" destId="{A7CB3719-3589-4464-8F11-6C532C9B31F2}" srcOrd="6" destOrd="0" presId="urn:microsoft.com/office/officeart/2005/8/layout/cycle8"/>
    <dgm:cxn modelId="{9AEE3393-FCD6-4276-B07B-5CA7EB6A0611}" type="presParOf" srcId="{8309FB3E-8064-4D65-A256-A60E273B707D}" destId="{72F123CE-1DFD-4801-9373-39A733481E82}" srcOrd="7" destOrd="0" presId="urn:microsoft.com/office/officeart/2005/8/layout/cycle8"/>
    <dgm:cxn modelId="{177231DD-DF7D-480B-A24A-EFDB61AC6D60}" type="presParOf" srcId="{8309FB3E-8064-4D65-A256-A60E273B707D}" destId="{D7672D9D-05D5-412C-A96D-CBCD91A5AEB4}" srcOrd="8" destOrd="0" presId="urn:microsoft.com/office/officeart/2005/8/layout/cycle8"/>
    <dgm:cxn modelId="{F4CB2B3D-7965-4746-AD5A-0A6A93259A50}" type="presParOf" srcId="{8309FB3E-8064-4D65-A256-A60E273B707D}" destId="{5103FD15-E1F5-4DD9-9A06-F24A1C1818A9}" srcOrd="9" destOrd="0" presId="urn:microsoft.com/office/officeart/2005/8/layout/cycle8"/>
    <dgm:cxn modelId="{0810FE3D-F9EB-4563-8230-5844B721E9AE}" type="presParOf" srcId="{8309FB3E-8064-4D65-A256-A60E273B707D}" destId="{D376EBE2-847A-4476-AB1A-893134744C19}" srcOrd="10" destOrd="0" presId="urn:microsoft.com/office/officeart/2005/8/layout/cycle8"/>
    <dgm:cxn modelId="{C469B22C-ADD6-4351-B92F-C3B793DF76A8}" type="presParOf" srcId="{8309FB3E-8064-4D65-A256-A60E273B707D}" destId="{3A5F95BB-C0C2-4BA3-8DC2-D7F0BB92C77C}" srcOrd="11" destOrd="0" presId="urn:microsoft.com/office/officeart/2005/8/layout/cycle8"/>
    <dgm:cxn modelId="{5F42584E-39EA-4695-BF20-269704B74353}" type="presParOf" srcId="{8309FB3E-8064-4D65-A256-A60E273B707D}" destId="{8DC69124-7208-4461-A63C-7E873BA1D083}" srcOrd="12" destOrd="0" presId="urn:microsoft.com/office/officeart/2005/8/layout/cycle8"/>
    <dgm:cxn modelId="{4C8011F4-836C-4C1A-8B34-BCA120906A5D}" type="presParOf" srcId="{8309FB3E-8064-4D65-A256-A60E273B707D}" destId="{672FFE78-5405-43A6-A790-BBE587A6D161}" srcOrd="13" destOrd="0" presId="urn:microsoft.com/office/officeart/2005/8/layout/cycle8"/>
    <dgm:cxn modelId="{2D097C9A-22EF-42DB-9066-9F164AFBE66C}" type="presParOf" srcId="{8309FB3E-8064-4D65-A256-A60E273B707D}" destId="{A6B31A8C-56CA-4093-B510-F0B2FCC49DB5}" srcOrd="14" destOrd="0" presId="urn:microsoft.com/office/officeart/2005/8/layout/cycle8"/>
    <dgm:cxn modelId="{AA12D8FB-68EF-41B5-9723-53145E7EDCBE}" type="presParOf" srcId="{8309FB3E-8064-4D65-A256-A60E273B707D}" destId="{AF3D3362-00E5-4718-A001-B145CD6B9392}" srcOrd="15" destOrd="0" presId="urn:microsoft.com/office/officeart/2005/8/layout/cycle8"/>
    <dgm:cxn modelId="{0BD7BC4F-9DFF-4799-B95A-EFA30394144D}" type="presParOf" srcId="{8309FB3E-8064-4D65-A256-A60E273B707D}" destId="{E8368617-0E3D-4040-BFE2-8EF15863DC6F}" srcOrd="16" destOrd="0" presId="urn:microsoft.com/office/officeart/2005/8/layout/cycle8"/>
    <dgm:cxn modelId="{1D92B8F5-596F-49F1-BD24-870B4A7C37C6}" type="presParOf" srcId="{8309FB3E-8064-4D65-A256-A60E273B707D}" destId="{302A3635-5370-4DB9-8571-CCC3AB905839}" srcOrd="17" destOrd="0" presId="urn:microsoft.com/office/officeart/2005/8/layout/cycle8"/>
    <dgm:cxn modelId="{FD9596DD-2A5E-4F34-86B9-9A3AAAB84538}" type="presParOf" srcId="{8309FB3E-8064-4D65-A256-A60E273B707D}" destId="{C4C0E83F-1EE8-4696-985B-EEAA9EC4B057}" srcOrd="18" destOrd="0" presId="urn:microsoft.com/office/officeart/2005/8/layout/cycle8"/>
    <dgm:cxn modelId="{4F368AFC-2A46-4D64-BB49-5CBC6E2DF600}" type="presParOf" srcId="{8309FB3E-8064-4D65-A256-A60E273B707D}" destId="{1FAB1A72-4DFD-493D-9906-6CA9B78A7C36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35D06F-CDC9-4E8B-A67C-DE37BC65D0BB}">
      <dsp:nvSpPr>
        <dsp:cNvPr id="0" name=""/>
        <dsp:cNvSpPr/>
      </dsp:nvSpPr>
      <dsp:spPr>
        <a:xfrm>
          <a:off x="1356451" y="244021"/>
          <a:ext cx="3339885" cy="3339885"/>
        </a:xfrm>
        <a:prstGeom prst="pie">
          <a:avLst>
            <a:gd name="adj1" fmla="val 16200000"/>
            <a:gd name="adj2" fmla="val 0"/>
          </a:avLst>
        </a:prstGeom>
        <a:solidFill>
          <a:srgbClr val="FF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 smtClean="0"/>
            <a:t>Milkcan</a:t>
          </a:r>
          <a:endParaRPr lang="en-US" sz="2000" b="1" kern="1200" dirty="0"/>
        </a:p>
      </dsp:txBody>
      <dsp:txXfrm>
        <a:off x="3129374" y="936252"/>
        <a:ext cx="1232576" cy="914492"/>
      </dsp:txXfrm>
    </dsp:sp>
    <dsp:sp modelId="{509F1CD8-AF04-4344-AD14-044778C0480F}">
      <dsp:nvSpPr>
        <dsp:cNvPr id="0" name=""/>
        <dsp:cNvSpPr/>
      </dsp:nvSpPr>
      <dsp:spPr>
        <a:xfrm>
          <a:off x="1356451" y="356146"/>
          <a:ext cx="3339885" cy="3339885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0" kern="1200" dirty="0" smtClean="0"/>
            <a:t>Cleaning Udder </a:t>
          </a:r>
          <a:endParaRPr lang="en-US" sz="2000" b="0" kern="1200" dirty="0"/>
        </a:p>
      </dsp:txBody>
      <dsp:txXfrm>
        <a:off x="3129374" y="2089308"/>
        <a:ext cx="1232576" cy="914492"/>
      </dsp:txXfrm>
    </dsp:sp>
    <dsp:sp modelId="{D7672D9D-05D5-412C-A96D-CBCD91A5AEB4}">
      <dsp:nvSpPr>
        <dsp:cNvPr id="0" name=""/>
        <dsp:cNvSpPr/>
      </dsp:nvSpPr>
      <dsp:spPr>
        <a:xfrm>
          <a:off x="1244326" y="356146"/>
          <a:ext cx="3339885" cy="3339885"/>
        </a:xfrm>
        <a:prstGeom prst="pie">
          <a:avLst>
            <a:gd name="adj1" fmla="val 5400000"/>
            <a:gd name="adj2" fmla="val 10800000"/>
          </a:avLst>
        </a:prstGeom>
        <a:solidFill>
          <a:srgbClr val="CC33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First Milking</a:t>
          </a:r>
          <a:endParaRPr lang="en-US" sz="1800" b="1" kern="1200" dirty="0"/>
        </a:p>
      </dsp:txBody>
      <dsp:txXfrm>
        <a:off x="1578713" y="2089308"/>
        <a:ext cx="1232576" cy="914492"/>
      </dsp:txXfrm>
    </dsp:sp>
    <dsp:sp modelId="{8DC69124-7208-4461-A63C-7E873BA1D083}">
      <dsp:nvSpPr>
        <dsp:cNvPr id="0" name=""/>
        <dsp:cNvSpPr/>
      </dsp:nvSpPr>
      <dsp:spPr>
        <a:xfrm>
          <a:off x="1244326" y="244021"/>
          <a:ext cx="3339885" cy="3339885"/>
        </a:xfrm>
        <a:prstGeom prst="pie">
          <a:avLst>
            <a:gd name="adj1" fmla="val 10800000"/>
            <a:gd name="adj2" fmla="val 1620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Filtering</a:t>
          </a:r>
          <a:endParaRPr lang="en-US" sz="1800" b="1" kern="1200" dirty="0"/>
        </a:p>
      </dsp:txBody>
      <dsp:txXfrm>
        <a:off x="1578713" y="936252"/>
        <a:ext cx="1232576" cy="914492"/>
      </dsp:txXfrm>
    </dsp:sp>
    <dsp:sp modelId="{E8368617-0E3D-4040-BFE2-8EF15863DC6F}">
      <dsp:nvSpPr>
        <dsp:cNvPr id="0" name=""/>
        <dsp:cNvSpPr/>
      </dsp:nvSpPr>
      <dsp:spPr>
        <a:xfrm>
          <a:off x="1125374" y="37267"/>
          <a:ext cx="3753394" cy="3753394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2A3635-5370-4DB9-8571-CCC3AB905839}">
      <dsp:nvSpPr>
        <dsp:cNvPr id="0" name=""/>
        <dsp:cNvSpPr/>
      </dsp:nvSpPr>
      <dsp:spPr>
        <a:xfrm>
          <a:off x="1149696" y="149391"/>
          <a:ext cx="3753394" cy="3753394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C0E83F-1EE8-4696-985B-EEAA9EC4B057}">
      <dsp:nvSpPr>
        <dsp:cNvPr id="0" name=""/>
        <dsp:cNvSpPr/>
      </dsp:nvSpPr>
      <dsp:spPr>
        <a:xfrm>
          <a:off x="1037572" y="149391"/>
          <a:ext cx="3753394" cy="3753394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AB1A72-4DFD-493D-9906-6CA9B78A7C36}">
      <dsp:nvSpPr>
        <dsp:cNvPr id="0" name=""/>
        <dsp:cNvSpPr/>
      </dsp:nvSpPr>
      <dsp:spPr>
        <a:xfrm>
          <a:off x="1037572" y="37267"/>
          <a:ext cx="3753394" cy="3753394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E05686-318B-45FF-8ECE-24434A26FBE9}" type="datetimeFigureOut">
              <a:rPr lang="en-US" smtClean="0"/>
              <a:t>8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FFAFAD-85BD-4DCD-8B69-345929769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43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DCE6BF-FFBC-4C7D-B0D9-F1D79DDA10C8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05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0B2421-EE6F-4F9F-AD89-7DF83F8769A6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349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oleObject" Target="../embeddings/oleObject10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oleObject" Target="../embeddings/oleObject11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oleObject" Target="../embeddings/oleObject15.bin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2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8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nl-NL" altLang="en-US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nl-NL" altLang="en-US" noProof="0" smtClean="0"/>
          </a:p>
        </p:txBody>
      </p:sp>
      <p:pic>
        <p:nvPicPr>
          <p:cNvPr id="5124" name="Picture 4" descr="FC logo groo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392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9534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174216" y="395139"/>
            <a:ext cx="6713501" cy="6279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4787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174216" y="395139"/>
            <a:ext cx="6713501" cy="6279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6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add author and date</a:t>
            </a:r>
            <a:endParaRPr lang="en-GB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cover picture</a:t>
            </a:r>
            <a:endParaRPr lang="nl-NL" dirty="0"/>
          </a:p>
        </p:txBody>
      </p:sp>
      <p:pic>
        <p:nvPicPr>
          <p:cNvPr id="6" name="Picture 5" descr="LogoFC_RGB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53" y="335547"/>
            <a:ext cx="3396251" cy="1437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868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79674" y="280062"/>
            <a:ext cx="6713501" cy="62644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582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nl-NL" altLang="en-US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nl-NL" altLang="en-US" noProof="0" smtClean="0"/>
          </a:p>
        </p:txBody>
      </p:sp>
      <p:pic>
        <p:nvPicPr>
          <p:cNvPr id="5124" name="Picture 4" descr="FC logo groo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3359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7593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60172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to add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709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4555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5" name="Rechthoek 4"/>
          <p:cNvSpPr/>
          <p:nvPr userDrawn="1"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528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text (no RFC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5454"/>
            <a:ext cx="6419502" cy="52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179512" y="116632"/>
            <a:ext cx="2016224" cy="100811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23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074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682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850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50706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6893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78187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6302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092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251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nl-NL" altLang="en-US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nl-NL" altLang="en-US" noProof="0" smtClean="0"/>
          </a:p>
        </p:txBody>
      </p:sp>
      <p:pic>
        <p:nvPicPr>
          <p:cNvPr id="5124" name="Picture 4" descr="FC logo groo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14909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764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3845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1620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to add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6461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4555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5" name="Rechthoek 4"/>
          <p:cNvSpPr/>
          <p:nvPr userDrawn="1"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605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text (no RFC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5454"/>
            <a:ext cx="6419502" cy="52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179512" y="116632"/>
            <a:ext cx="2016224" cy="100811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86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542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4555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38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8649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9177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619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146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261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7868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9700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5021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2387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9294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nl-NL" altLang="en-US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nl-NL" altLang="en-US" noProof="0" smtClean="0"/>
          </a:p>
        </p:txBody>
      </p:sp>
      <p:pic>
        <p:nvPicPr>
          <p:cNvPr id="5124" name="Picture 4" descr="FC logo groo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51238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84281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500272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6234373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6688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77586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6" y="5157238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6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6" y="2276872"/>
            <a:ext cx="8281624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59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79" y="6108700"/>
            <a:ext cx="682625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094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720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2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2" y="1460500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9" indent="-272789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364202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920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233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67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09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5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14" name="Text Placeholder 313"/>
          <p:cNvSpPr>
            <a:spLocks noGrp="1"/>
          </p:cNvSpPr>
          <p:nvPr>
            <p:ph type="body" idx="11"/>
          </p:nvPr>
        </p:nvSpPr>
        <p:spPr>
          <a:xfrm>
            <a:off x="1588" y="2173"/>
            <a:ext cx="1588" cy="2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0" name="Text Placeholder 319"/>
          <p:cNvSpPr>
            <a:spLocks noGrp="1"/>
          </p:cNvSpPr>
          <p:nvPr>
            <p:ph type="body" sz="quarter" idx="12"/>
          </p:nvPr>
        </p:nvSpPr>
        <p:spPr>
          <a:xfrm>
            <a:off x="1588" y="2173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1" name="Text Placeholder 320"/>
          <p:cNvSpPr>
            <a:spLocks noGrp="1"/>
          </p:cNvSpPr>
          <p:nvPr>
            <p:ph type="body" sz="quarter" idx="13"/>
          </p:nvPr>
        </p:nvSpPr>
        <p:spPr>
          <a:xfrm>
            <a:off x="1588" y="2173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25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46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978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86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6" y="5157247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6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6" y="2276878"/>
            <a:ext cx="8281624" cy="259146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63" y="319006"/>
            <a:ext cx="3614377" cy="1915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89" y="6108756"/>
            <a:ext cx="682625" cy="768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102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2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2" y="1460502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9" indent="-272789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65506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ctr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14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705497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400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473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72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75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09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9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14" name="Text Placeholder 313"/>
          <p:cNvSpPr>
            <a:spLocks noGrp="1"/>
          </p:cNvSpPr>
          <p:nvPr>
            <p:ph type="body" idx="11"/>
          </p:nvPr>
        </p:nvSpPr>
        <p:spPr>
          <a:xfrm>
            <a:off x="1588" y="2182"/>
            <a:ext cx="1588" cy="2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0" name="Text Placeholder 319"/>
          <p:cNvSpPr>
            <a:spLocks noGrp="1"/>
          </p:cNvSpPr>
          <p:nvPr>
            <p:ph type="body" sz="quarter" idx="12"/>
          </p:nvPr>
        </p:nvSpPr>
        <p:spPr>
          <a:xfrm>
            <a:off x="1588" y="2182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1" name="Text Placeholder 320"/>
          <p:cNvSpPr>
            <a:spLocks noGrp="1"/>
          </p:cNvSpPr>
          <p:nvPr>
            <p:ph type="body" sz="quarter" idx="13"/>
          </p:nvPr>
        </p:nvSpPr>
        <p:spPr>
          <a:xfrm>
            <a:off x="1588" y="2182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8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5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 descr="FC logo klei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6" y="26988"/>
            <a:ext cx="1320800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41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0007591"/>
              </p:ext>
            </p:extLst>
          </p:nvPr>
        </p:nvGraphicFramePr>
        <p:xfrm>
          <a:off x="0" y="7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9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208621" y="332695"/>
            <a:ext cx="8721969" cy="5812505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51"/>
          <a:stretch>
            <a:fillRect/>
          </a:stretch>
        </p:blipFill>
        <p:spPr bwMode="auto">
          <a:xfrm>
            <a:off x="0" y="-84138"/>
            <a:ext cx="4923692" cy="27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New Image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01" y="5259915"/>
            <a:ext cx="1310712" cy="123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43000" y="2667000"/>
            <a:ext cx="6858000" cy="1524000"/>
          </a:xfrm>
        </p:spPr>
        <p:txBody>
          <a:bodyPr/>
          <a:lstStyle>
            <a:lvl1pPr>
              <a:defRPr sz="2800">
                <a:solidFill>
                  <a:srgbClr val="00B0F0"/>
                </a:solidFill>
              </a:defRPr>
            </a:lvl1pPr>
            <a:lvl2pPr marL="22860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241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922949" y="6504884"/>
            <a:ext cx="3251203" cy="27699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err="1">
                <a:solidFill>
                  <a:srgbClr val="0094D9"/>
                </a:solidFill>
              </a:rPr>
              <a:t>Grow</a:t>
            </a:r>
            <a:r>
              <a:rPr lang="en-GB" sz="1200" b="1" i="1">
                <a:solidFill>
                  <a:srgbClr val="0094D9"/>
                </a:solidFill>
              </a:rPr>
              <a:t>, Win, Contribute… TOGETHER</a:t>
            </a:r>
            <a:endParaRPr lang="en-US" sz="1200" b="1" i="1" dirty="0">
              <a:solidFill>
                <a:srgbClr val="0094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31648" y="1676021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922949" y="6504884"/>
            <a:ext cx="3251203" cy="27699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err="1">
                <a:solidFill>
                  <a:srgbClr val="0094D9"/>
                </a:solidFill>
              </a:rPr>
              <a:t>Grow</a:t>
            </a:r>
            <a:r>
              <a:rPr lang="en-GB" sz="1200" b="1" i="1">
                <a:solidFill>
                  <a:srgbClr val="0094D9"/>
                </a:solidFill>
              </a:rPr>
              <a:t>, Win, Contribute… TOGETHER</a:t>
            </a:r>
            <a:endParaRPr lang="en-US" sz="1200" b="1" i="1" dirty="0">
              <a:solidFill>
                <a:srgbClr val="0094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1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6" y="5157228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6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6" y="2276872"/>
            <a:ext cx="8281624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54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79" y="6108700"/>
            <a:ext cx="682625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185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2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2" y="1460500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9" indent="-272789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0496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 sz="1400"/>
            </a:lvl2pPr>
            <a:lvl3pPr>
              <a:buClr>
                <a:schemeClr val="accent1"/>
              </a:buClr>
              <a:defRPr sz="140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nl-NL" smtClean="0">
                <a:solidFill>
                  <a:srgbClr val="3F4043"/>
                </a:solidFill>
              </a:rPr>
              <a:pPr/>
              <a:t>‹#›</a:t>
            </a:fld>
            <a:endParaRPr lang="nl-NL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73672" y="354365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851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6044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28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57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06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67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6871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208618" y="332694"/>
            <a:ext cx="8721969" cy="5812505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51"/>
          <a:stretch>
            <a:fillRect/>
          </a:stretch>
        </p:blipFill>
        <p:spPr bwMode="auto">
          <a:xfrm>
            <a:off x="0" y="-84138"/>
            <a:ext cx="4923692" cy="275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New Image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01" y="5259898"/>
            <a:ext cx="1310712" cy="123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43000" y="2667000"/>
            <a:ext cx="6858000" cy="1524000"/>
          </a:xfrm>
        </p:spPr>
        <p:txBody>
          <a:bodyPr/>
          <a:lstStyle>
            <a:lvl1pPr>
              <a:defRPr sz="2800">
                <a:solidFill>
                  <a:srgbClr val="00B0F0"/>
                </a:solidFill>
              </a:defRPr>
            </a:lvl1pPr>
            <a:lvl2pPr marL="22860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8536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2362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693" y="794400"/>
            <a:ext cx="8440615" cy="635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4DE"/>
                </a:solidFill>
                <a:effectLst/>
                <a:uLnTx/>
                <a:uFillTx/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51693" y="1587062"/>
            <a:ext cx="8440615" cy="4724020"/>
          </a:xfrm>
        </p:spPr>
        <p:txBody>
          <a:bodyPr/>
          <a:lstStyle>
            <a:lvl1pPr>
              <a:defRPr>
                <a:latin typeface="+mn-lt"/>
                <a:ea typeface="Tahoma" pitchFamily="34" charset="0"/>
                <a:cs typeface="Tahoma" pitchFamily="34" charset="0"/>
              </a:defRPr>
            </a:lvl1pPr>
            <a:lvl2pPr>
              <a:buClr>
                <a:srgbClr val="00A4DE"/>
              </a:buClr>
              <a:defRPr>
                <a:latin typeface="+mn-lt"/>
                <a:ea typeface="Tahoma" pitchFamily="34" charset="0"/>
                <a:cs typeface="Tahoma" pitchFamily="34" charset="0"/>
              </a:defRPr>
            </a:lvl2pPr>
            <a:lvl3pPr>
              <a:buClr>
                <a:srgbClr val="00A4DE"/>
              </a:buClr>
              <a:defRPr>
                <a:latin typeface="+mn-lt"/>
                <a:ea typeface="Tahoma" pitchFamily="34" charset="0"/>
                <a:cs typeface="Tahoma" pitchFamily="34" charset="0"/>
              </a:defRPr>
            </a:lvl3pPr>
            <a:lvl4pPr>
              <a:buClr>
                <a:srgbClr val="00A4DE"/>
              </a:buClr>
              <a:defRPr>
                <a:latin typeface="+mn-lt"/>
                <a:ea typeface="Tahoma" pitchFamily="34" charset="0"/>
                <a:cs typeface="Tahoma" pitchFamily="34" charset="0"/>
              </a:defRPr>
            </a:lvl4pPr>
            <a:lvl5pPr>
              <a:buClr>
                <a:srgbClr val="00A4DE"/>
              </a:buClr>
              <a:defRPr>
                <a:latin typeface="+mn-lt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79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3" y="5157196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3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3" y="2276874"/>
            <a:ext cx="8281624" cy="259146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0" y="319004"/>
            <a:ext cx="3614377" cy="1915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82" y="6108702"/>
            <a:ext cx="682625" cy="768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8253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3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1460502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3" indent="-272783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0133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0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321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174216" y="395139"/>
            <a:ext cx="6713501" cy="6279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69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25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489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4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4" y="5157201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4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4" y="2276878"/>
            <a:ext cx="8281624" cy="259146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0" y="319006"/>
            <a:ext cx="3614377" cy="1915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89" y="6108710"/>
            <a:ext cx="682625" cy="768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267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2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2" y="1460502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9" indent="-272789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66027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55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6858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260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612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29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491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90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14" name="Text Placeholder 313"/>
          <p:cNvSpPr>
            <a:spLocks noGrp="1"/>
          </p:cNvSpPr>
          <p:nvPr>
            <p:ph type="body" idx="11"/>
          </p:nvPr>
        </p:nvSpPr>
        <p:spPr>
          <a:xfrm>
            <a:off x="1588" y="2136"/>
            <a:ext cx="1588" cy="2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0" name="Text Placeholder 319"/>
          <p:cNvSpPr>
            <a:spLocks noGrp="1"/>
          </p:cNvSpPr>
          <p:nvPr>
            <p:ph type="body" sz="quarter" idx="12"/>
          </p:nvPr>
        </p:nvSpPr>
        <p:spPr>
          <a:xfrm>
            <a:off x="1588" y="2136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1" name="Text Placeholder 320"/>
          <p:cNvSpPr>
            <a:spLocks noGrp="1"/>
          </p:cNvSpPr>
          <p:nvPr>
            <p:ph type="body" sz="quarter" idx="13"/>
          </p:nvPr>
        </p:nvSpPr>
        <p:spPr>
          <a:xfrm>
            <a:off x="1588" y="2136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93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3684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285174"/>
              </p:ext>
            </p:extLst>
          </p:nvPr>
        </p:nvGraphicFramePr>
        <p:xfrm>
          <a:off x="0" y="7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208621" y="332695"/>
            <a:ext cx="8721969" cy="5812505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51"/>
          <a:stretch>
            <a:fillRect/>
          </a:stretch>
        </p:blipFill>
        <p:spPr bwMode="auto">
          <a:xfrm>
            <a:off x="0" y="-84138"/>
            <a:ext cx="4923692" cy="27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New Image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01" y="5259869"/>
            <a:ext cx="1310712" cy="123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43000" y="2667000"/>
            <a:ext cx="6858000" cy="1524000"/>
          </a:xfrm>
        </p:spPr>
        <p:txBody>
          <a:bodyPr/>
          <a:lstStyle>
            <a:lvl1pPr>
              <a:defRPr sz="2800">
                <a:solidFill>
                  <a:srgbClr val="00B0F0"/>
                </a:solidFill>
              </a:defRPr>
            </a:lvl1pPr>
            <a:lvl2pPr marL="22860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9193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48518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174216" y="395139"/>
            <a:ext cx="6713501" cy="6279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66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83081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829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3729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945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67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, text and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539749" y="1508791"/>
            <a:ext cx="8208964" cy="48005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711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3" y="5157196"/>
            <a:ext cx="8281624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563" y="5829264"/>
            <a:ext cx="8281624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611563" y="2276874"/>
            <a:ext cx="8281624" cy="259146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smtClean="0"/>
              <a:t>Click to add cover picture</a:t>
            </a:r>
            <a:endParaRPr lang="nl-NL" dirty="0"/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0" y="319004"/>
            <a:ext cx="3614377" cy="1915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882" y="6108702"/>
            <a:ext cx="682625" cy="768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234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83" y="364555"/>
            <a:ext cx="6419503" cy="522000"/>
          </a:xfrm>
        </p:spPr>
        <p:txBody>
          <a:bodyPr anchor="ctr" anchorCtr="0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1460502"/>
            <a:ext cx="8137524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2783" indent="-272783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359369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. Budge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305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87" y="5257925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l-NL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77" y="5708651"/>
            <a:ext cx="7745413" cy="673100"/>
          </a:xfrm>
        </p:spPr>
        <p:txBody>
          <a:bodyPr/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nl-NL" noProof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1"/>
            <a:ext cx="7747200" cy="27324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smtClean="0"/>
              <a:t>Click icon to add picture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489" y="352799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14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add author and date</a:t>
            </a:r>
            <a:endParaRPr lang="en-GB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cover picture</a:t>
            </a:r>
            <a:endParaRPr lang="nl-NL" dirty="0"/>
          </a:p>
        </p:txBody>
      </p:sp>
      <p:pic>
        <p:nvPicPr>
          <p:cNvPr id="6" name="Picture 5" descr="LogoFC_RGB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53" y="335547"/>
            <a:ext cx="3396251" cy="1437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681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14" name="Text Placeholder 313"/>
          <p:cNvSpPr>
            <a:spLocks noGrp="1"/>
          </p:cNvSpPr>
          <p:nvPr>
            <p:ph type="body" idx="11"/>
          </p:nvPr>
        </p:nvSpPr>
        <p:spPr>
          <a:xfrm>
            <a:off x="1589" y="2131"/>
            <a:ext cx="1588" cy="2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0" name="Text Placeholder 319"/>
          <p:cNvSpPr>
            <a:spLocks noGrp="1"/>
          </p:cNvSpPr>
          <p:nvPr>
            <p:ph type="body" sz="quarter" idx="12"/>
          </p:nvPr>
        </p:nvSpPr>
        <p:spPr>
          <a:xfrm>
            <a:off x="1589" y="2131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21" name="Text Placeholder 320"/>
          <p:cNvSpPr>
            <a:spLocks noGrp="1"/>
          </p:cNvSpPr>
          <p:nvPr>
            <p:ph type="body" sz="quarter" idx="13"/>
          </p:nvPr>
        </p:nvSpPr>
        <p:spPr>
          <a:xfrm>
            <a:off x="1589" y="2131"/>
            <a:ext cx="1588" cy="2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2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775460"/>
            <a:ext cx="8128000" cy="4401820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785091" y="1062759"/>
            <a:ext cx="8115733" cy="634423"/>
          </a:xfrm>
        </p:spPr>
        <p:txBody>
          <a:bodyPr/>
          <a:lstStyle>
            <a:lvl1pPr algn="r">
              <a:defRPr sz="2400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5393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3529"/>
            <a:endParaRPr lang="en-US">
              <a:solidFill>
                <a:srgbClr val="3F404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3529"/>
            <a:endParaRPr lang="en-US">
              <a:solidFill>
                <a:srgbClr val="3F40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3529"/>
            <a:fld id="{334186B7-443C-4AA1-A1C5-A7AC94E23745}" type="slidenum">
              <a:rPr lang="en-US">
                <a:solidFill>
                  <a:srgbClr val="3F4043"/>
                </a:solidFill>
              </a:rPr>
              <a:pPr defTabSz="913529"/>
              <a:t>‹#›</a:t>
            </a:fld>
            <a:endParaRPr lang="en-US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83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369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74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itle and tex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816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28800" y="304800"/>
            <a:ext cx="6419502" cy="522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49" y="1460500"/>
            <a:ext cx="8137525" cy="4889500"/>
          </a:xfrm>
        </p:spPr>
        <p:txBody>
          <a:bodyPr/>
          <a:lstStyle>
            <a:lvl1pPr marL="266700" indent="-266700"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>
                <a:solidFill>
                  <a:schemeClr val="tx2"/>
                </a:solidFill>
              </a:defRPr>
            </a:lvl1pPr>
            <a:lvl2pPr marL="541338" indent="-274638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 marL="808038" indent="-266700">
              <a:buClr>
                <a:schemeClr val="accent1"/>
              </a:buCl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3529"/>
            <a:fld id="{0C3E0553-2C6C-497F-867A-65E4A976FAE9}" type="slidenum">
              <a:rPr lang="en-GB">
                <a:solidFill>
                  <a:srgbClr val="3F4043"/>
                </a:solidFill>
              </a:rPr>
              <a:pPr defTabSz="913529"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488686"/>
            <a:ext cx="42915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529"/>
            <a:r>
              <a:rPr lang="en-US" dirty="0">
                <a:solidFill>
                  <a:srgbClr val="F7931E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lignment </a:t>
            </a:r>
            <a:r>
              <a:rPr lang="en-US" dirty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&amp; </a:t>
            </a:r>
            <a:r>
              <a:rPr lang="en-US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ntegration</a:t>
            </a:r>
            <a:r>
              <a:rPr lang="en-US" dirty="0">
                <a:solidFill>
                  <a:srgbClr val="3F404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sz="2400" dirty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4</a:t>
            </a:r>
            <a:r>
              <a:rPr lang="en-US" dirty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dirty="0">
                <a:solidFill>
                  <a:srgbClr val="EC008C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xcellenc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8800"/>
            <a:ext cx="1143000" cy="957450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0"/>
            <a:ext cx="854075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921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775460"/>
            <a:ext cx="8128000" cy="4401820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243713" y="6433756"/>
            <a:ext cx="720775" cy="324000"/>
          </a:xfrm>
          <a:prstGeom prst="rect">
            <a:avLst/>
          </a:prstGeom>
        </p:spPr>
        <p:txBody>
          <a:bodyPr/>
          <a:lstStyle/>
          <a:p>
            <a:pPr defTabSz="913529"/>
            <a:fld id="{0C3E0553-2C6C-497F-867A-65E4A976FAE9}" type="slidenum">
              <a:rPr lang="nl-NL">
                <a:solidFill>
                  <a:srgbClr val="3F4043"/>
                </a:solidFill>
              </a:rPr>
              <a:pPr defTabSz="913529"/>
              <a:t>‹#›</a:t>
            </a:fld>
            <a:endParaRPr lang="nl-NL" dirty="0">
              <a:solidFill>
                <a:srgbClr val="3F4043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785091" y="1062759"/>
            <a:ext cx="8115733" cy="634423"/>
          </a:xfrm>
        </p:spPr>
        <p:txBody>
          <a:bodyPr/>
          <a:lstStyle>
            <a:lvl1pPr algn="r">
              <a:defRPr sz="2400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32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753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/>
          <a:p>
            <a:pPr defTabSz="913529"/>
            <a:fld id="{0C3E0553-2C6C-497F-867A-65E4A976FAE9}" type="slidenum">
              <a:rPr lang="nl-NL">
                <a:solidFill>
                  <a:srgbClr val="3F4043"/>
                </a:solidFill>
              </a:rPr>
              <a:pPr defTabSz="913529"/>
              <a:t>‹#›</a:t>
            </a:fld>
            <a:endParaRPr lang="nl-NL" dirty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530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4A60846-6193-451B-A6CB-702670C232BA}" type="datetimeFigureOut">
              <a:rPr lang="en-US" smtClean="0"/>
              <a:t>8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ECA9F09-2674-4D1F-96DC-F8F1E60014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46948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6812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242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79674" y="280062"/>
            <a:ext cx="6713501" cy="62644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2559" y="1460500"/>
            <a:ext cx="8137442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000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86225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nl-NL" noProof="0" smtClean="0"/>
              <a:t>Klik om de stijl te bewerk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 smtClean="0"/>
              <a:t>Klik om de ondertitelstijl van het model te bewerke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0"/>
            <a:ext cx="7747200" cy="2732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4786615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544231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C logo groo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ln w="7620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0"/>
            <a:ext cx="7747200" cy="2732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4568118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56000" y="1681200"/>
            <a:ext cx="8388000" cy="51768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006825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852945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81200" y="16848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506400" y="16884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28000" y="16848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81200" y="4626000"/>
            <a:ext cx="8092800" cy="19188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4665183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000" y="1684800"/>
            <a:ext cx="3477600" cy="484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411413" y="508000"/>
            <a:ext cx="6481762" cy="611188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503600" y="1684800"/>
            <a:ext cx="4644000" cy="48420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072413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756000" y="1684800"/>
            <a:ext cx="8139600" cy="48420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grafiek wilt toevoegen</a:t>
            </a:r>
            <a:endParaRPr lang="nl-NL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1862940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756000" y="1684800"/>
            <a:ext cx="8139600" cy="48420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nl-NL" noProof="0" smtClean="0"/>
              <a:t>Klik op het pictogram als u een tabel wilt toevoegen</a:t>
            </a:r>
            <a:endParaRPr lang="nl-NL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756502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5147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66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459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947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807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25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77229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03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4398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892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294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to add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4910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811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906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79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852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No_Go_Area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6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241300"/>
            <a:ext cx="1455737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3673" y="516484"/>
            <a:ext cx="6419502" cy="522000"/>
          </a:xfrm>
        </p:spPr>
        <p:txBody>
          <a:bodyPr/>
          <a:lstStyle>
            <a:lvl1pPr algn="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762000" y="1460500"/>
            <a:ext cx="8128000" cy="4889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</p:txBody>
      </p:sp>
      <p:sp>
        <p:nvSpPr>
          <p:cNvPr id="9" name="Tekstvak 6"/>
          <p:cNvSpPr txBox="1"/>
          <p:nvPr userDrawn="1">
            <p:custDataLst>
              <p:tags r:id="rId4"/>
            </p:custDataLst>
          </p:nvPr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387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4354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07624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6113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951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239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4555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5" name="Rechthoek 4"/>
          <p:cNvSpPr/>
          <p:nvPr userDrawn="1"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138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00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788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89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397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3231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5970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t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276872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to add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02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4555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5" name="Rechthoek 4"/>
          <p:cNvSpPr/>
          <p:nvPr userDrawn="1"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622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text (no RFC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5454"/>
            <a:ext cx="6419502" cy="52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179512" y="116632"/>
            <a:ext cx="2016224" cy="100811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946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nl-NL" noProof="0" smtClean="0"/>
              <a:t>Klik om de stijl te bewerk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 smtClean="0"/>
              <a:t>Klik om de ondertitelstijl van het model te bewerke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0"/>
            <a:ext cx="7747200" cy="27324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00" y="352800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807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text (no RFC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5454"/>
            <a:ext cx="6419502" cy="52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z="3600" smtClean="0">
                <a:solidFill>
                  <a:srgbClr val="3F4043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3600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179512" y="116632"/>
            <a:ext cx="2016224" cy="100811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82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09196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FC logo gro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52425"/>
            <a:ext cx="4057650" cy="1722438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0"/>
            <a:ext cx="7747200" cy="27324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640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56000" y="1681200"/>
            <a:ext cx="8388000" cy="51768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72491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11782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's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81200" y="16848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506400" y="16884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28000" y="1684800"/>
            <a:ext cx="2649600" cy="28656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81200" y="4626000"/>
            <a:ext cx="8092800" cy="19188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6655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000" y="1684800"/>
            <a:ext cx="3477600" cy="484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411413" y="508000"/>
            <a:ext cx="6481762" cy="611188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503600" y="1684800"/>
            <a:ext cx="4644000" cy="48420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97868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756000" y="1684800"/>
            <a:ext cx="8139600" cy="48420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grafiek wilt toevoegen</a:t>
            </a:r>
            <a:endParaRPr lang="nl-NL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4422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756000" y="1684800"/>
            <a:ext cx="8139600" cy="48420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tabel wilt toevoegen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9320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39552" y="1916831"/>
            <a:ext cx="8356048" cy="4609967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buClr>
                <a:schemeClr val="accent6"/>
              </a:buCl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6"/>
              </a:buCl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39553" y="585564"/>
            <a:ext cx="7128791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 smtClean="0"/>
              <a:t>Klik om het opmaakprofi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6675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G:\Corporate Communication\Logo's\FrieslandCampina\Nourishing by Nature tagline\Nbn_tag_with_FC_fina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00" y="334800"/>
            <a:ext cx="3405600" cy="1805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ctr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add author and date</a:t>
            </a:r>
            <a:endParaRPr lang="en-GB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564904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cover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6877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435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tex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505336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49" y="1460500"/>
            <a:ext cx="8137525" cy="4889500"/>
          </a:xfrm>
        </p:spPr>
        <p:txBody>
          <a:bodyPr/>
          <a:lstStyle>
            <a:lvl1pPr marL="266700" indent="-266700"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>
                <a:solidFill>
                  <a:schemeClr val="tx2"/>
                </a:solidFill>
              </a:defRPr>
            </a:lvl1pPr>
            <a:lvl2pPr marL="541338" indent="-274638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 marL="808038" indent="-266700">
              <a:buClr>
                <a:schemeClr val="accent1"/>
              </a:buCl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958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, subtitle and tex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505336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49" y="1844824"/>
            <a:ext cx="8137525" cy="4505176"/>
          </a:xfrm>
        </p:spPr>
        <p:txBody>
          <a:bodyPr/>
          <a:lstStyle>
            <a:lvl1pPr marL="266700" indent="-266700"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>
                <a:solidFill>
                  <a:schemeClr val="tx2"/>
                </a:solidFill>
              </a:defRPr>
            </a:lvl1pPr>
            <a:lvl2pPr marL="541338" indent="-274638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 marL="808038" indent="-266700">
              <a:buClr>
                <a:schemeClr val="accent1"/>
              </a:buCl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755649" y="1475771"/>
            <a:ext cx="8136000" cy="36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29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Title and text (no RFC logo)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505336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49" y="1460500"/>
            <a:ext cx="8137525" cy="4889500"/>
          </a:xfrm>
        </p:spPr>
        <p:txBody>
          <a:bodyPr/>
          <a:lstStyle>
            <a:lvl1pPr marL="266700" indent="-266700"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>
                <a:solidFill>
                  <a:schemeClr val="tx2"/>
                </a:solidFill>
              </a:defRPr>
            </a:lvl1pPr>
            <a:lvl2pPr marL="541338" indent="-274638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 marL="808038" indent="-266700">
              <a:buClr>
                <a:schemeClr val="accent1"/>
              </a:buCl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50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Title, subtitle and text (no RFC logo)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505336"/>
            <a:ext cx="6419502" cy="5220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49" y="1844824"/>
            <a:ext cx="8137525" cy="4505176"/>
          </a:xfrm>
        </p:spPr>
        <p:txBody>
          <a:bodyPr/>
          <a:lstStyle>
            <a:lvl1pPr marL="266700" indent="-266700"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>
                <a:solidFill>
                  <a:schemeClr val="tx2"/>
                </a:solidFill>
              </a:defRPr>
            </a:lvl1pPr>
            <a:lvl2pPr marL="541338" indent="-274638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 marL="808038" indent="-266700">
              <a:buClr>
                <a:schemeClr val="accent1"/>
              </a:buClr>
              <a:defRPr/>
            </a:lvl3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755649" y="1475771"/>
            <a:ext cx="8136000" cy="36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415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nl-NL" smtClean="0">
                <a:solidFill>
                  <a:srgbClr val="3F4043"/>
                </a:solidFill>
              </a:rPr>
              <a:pPr/>
              <a:t>‹#›</a:t>
            </a:fld>
            <a:endParaRPr lang="nl-NL" dirty="0">
              <a:solidFill>
                <a:srgbClr val="3F4043"/>
              </a:solidFill>
            </a:endParaRPr>
          </a:p>
        </p:txBody>
      </p:sp>
      <p:sp>
        <p:nvSpPr>
          <p:cNvPr id="5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73672" y="519465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2459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7763" y="5257800"/>
            <a:ext cx="7743825" cy="44767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nl-NL" noProof="0" smtClean="0"/>
              <a:t>Klik om de stijl te bewerk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9350" y="5708650"/>
            <a:ext cx="7745413" cy="673100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 smtClean="0"/>
              <a:t>Klik om de ondertitelstijl van het model te bewerke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8400" y="2246400"/>
            <a:ext cx="7747200" cy="2732400"/>
          </a:xfrm>
        </p:spPr>
        <p:txBody>
          <a:bodyPr/>
          <a:lstStyle>
            <a:lvl1pPr>
              <a:defRPr sz="1000"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00" y="352800"/>
            <a:ext cx="4085805" cy="1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40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5" name="Rechthoek 4"/>
          <p:cNvSpPr/>
          <p:nvPr userDrawn="1"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Tekstvak 5"/>
          <p:cNvSpPr txBox="1"/>
          <p:nvPr userDrawn="1"/>
        </p:nvSpPr>
        <p:spPr>
          <a:xfrm>
            <a:off x="8500541" y="6495148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</a:endParaRPr>
          </a:p>
        </p:txBody>
      </p:sp>
      <p:sp>
        <p:nvSpPr>
          <p:cNvPr id="9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73672" y="363439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328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text (no RFC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3673" y="365454"/>
            <a:ext cx="6419502" cy="52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73050" indent="-273050">
              <a:buFont typeface="Verdana" pitchFamily="34" charset="0"/>
              <a:buChar char="●"/>
              <a:defRPr/>
            </a:lvl2pPr>
            <a:lvl3pPr>
              <a:defRPr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179512" y="116632"/>
            <a:ext cx="2016224" cy="100811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Tekstvak 5"/>
          <p:cNvSpPr txBox="1"/>
          <p:nvPr userDrawn="1"/>
        </p:nvSpPr>
        <p:spPr>
          <a:xfrm>
            <a:off x="8500541" y="6495148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82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813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88036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9087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290800" y="6033600"/>
            <a:ext cx="597600" cy="5976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40885561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413" y="418953"/>
            <a:ext cx="6481762" cy="611188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470697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9" name="Tekstvak 8"/>
          <p:cNvSpPr txBox="1"/>
          <p:nvPr userDrawn="1"/>
        </p:nvSpPr>
        <p:spPr>
          <a:xfrm>
            <a:off x="8512116" y="6495147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010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5" name="Tekstvak 4"/>
          <p:cNvSpPr txBox="1"/>
          <p:nvPr userDrawn="1"/>
        </p:nvSpPr>
        <p:spPr>
          <a:xfrm>
            <a:off x="8500541" y="6567155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473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5" name="Tekstvak 4"/>
          <p:cNvSpPr txBox="1"/>
          <p:nvPr userDrawn="1"/>
        </p:nvSpPr>
        <p:spPr>
          <a:xfrm>
            <a:off x="8500541" y="6567155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93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5" name="Tekstvak 4"/>
          <p:cNvSpPr txBox="1"/>
          <p:nvPr userDrawn="1"/>
        </p:nvSpPr>
        <p:spPr>
          <a:xfrm>
            <a:off x="8500541" y="6567155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344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5" name="Tekstvak 4"/>
          <p:cNvSpPr txBox="1"/>
          <p:nvPr userDrawn="1"/>
        </p:nvSpPr>
        <p:spPr>
          <a:xfrm>
            <a:off x="8500541" y="6567155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630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56000" y="1684799"/>
            <a:ext cx="8139600" cy="4842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5" name="Tekstvak 4"/>
          <p:cNvSpPr txBox="1"/>
          <p:nvPr userDrawn="1"/>
        </p:nvSpPr>
        <p:spPr>
          <a:xfrm>
            <a:off x="8500541" y="6567155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9CD28338-98CD-4136-BA81-8E55F50C4922}" type="slidenum">
              <a:rPr lang="nl-NL" sz="1000" smtClean="0">
                <a:solidFill>
                  <a:srgbClr val="3F4043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sz="1000" dirty="0" smtClean="0">
              <a:solidFill>
                <a:srgbClr val="3F404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456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5359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60071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0436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b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NCR_PP_lichter titel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371" y="0"/>
            <a:ext cx="914125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730" y="3933056"/>
            <a:ext cx="1763884" cy="1944216"/>
          </a:xfr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aseline="0">
                <a:solidFill>
                  <a:srgbClr val="22326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971600" y="6021288"/>
            <a:ext cx="1756596" cy="648072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400"/>
              </a:lnSpc>
              <a:buNone/>
              <a:defRPr sz="1600" baseline="0">
                <a:solidFill>
                  <a:srgbClr val="53A82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z="1400">
                <a:solidFill>
                  <a:srgbClr val="53A820"/>
                </a:solidFill>
                <a:latin typeface="Verdana"/>
                <a:cs typeface="Verdana"/>
              </a:rPr>
              <a:t>Klik om de ondertitelstijl van het model te bewerken</a:t>
            </a:r>
            <a:endParaRPr lang="nl-NL" sz="1400" dirty="0">
              <a:solidFill>
                <a:srgbClr val="53A82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64813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NCR_PP2 sam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55576" y="2420888"/>
            <a:ext cx="7931224" cy="3456385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jdelijke aanduiding voor titel 1"/>
          <p:cNvSpPr>
            <a:spLocks noGrp="1"/>
          </p:cNvSpPr>
          <p:nvPr>
            <p:ph type="title"/>
          </p:nvPr>
        </p:nvSpPr>
        <p:spPr>
          <a:xfrm>
            <a:off x="755576" y="1556792"/>
            <a:ext cx="7947670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1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755576" y="6453336"/>
            <a:ext cx="6336704" cy="21602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cap="all" baseline="0">
                <a:solidFill>
                  <a:srgbClr val="53A8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Naam van deze </a:t>
            </a:r>
            <a:r>
              <a:rPr lang="nl-NL" dirty="0" err="1"/>
              <a:t>powerpoin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800974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NCR_PP2 sam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63888" y="2420888"/>
            <a:ext cx="5122912" cy="3456385"/>
          </a:xfrm>
        </p:spPr>
        <p:txBody>
          <a:bodyPr/>
          <a:lstStyle>
            <a:lvl1pPr>
              <a:defRPr>
                <a:solidFill>
                  <a:srgbClr val="223261"/>
                </a:solidFill>
              </a:defRPr>
            </a:lvl1pPr>
            <a:lvl2pPr>
              <a:defRPr>
                <a:solidFill>
                  <a:srgbClr val="223261"/>
                </a:solidFill>
              </a:defRPr>
            </a:lvl2pPr>
            <a:lvl3pPr>
              <a:defRPr>
                <a:solidFill>
                  <a:srgbClr val="223261"/>
                </a:solidFill>
              </a:defRPr>
            </a:lvl3pPr>
            <a:lvl4pPr>
              <a:defRPr>
                <a:solidFill>
                  <a:srgbClr val="223261"/>
                </a:solidFill>
              </a:defRPr>
            </a:lvl4pPr>
            <a:lvl5pPr>
              <a:defRPr>
                <a:solidFill>
                  <a:srgbClr val="22326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jdelijke aanduiding voor titel 1"/>
          <p:cNvSpPr>
            <a:spLocks noGrp="1"/>
          </p:cNvSpPr>
          <p:nvPr>
            <p:ph type="title"/>
          </p:nvPr>
        </p:nvSpPr>
        <p:spPr>
          <a:xfrm>
            <a:off x="3563888" y="1556792"/>
            <a:ext cx="5139358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2326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1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755576" y="6453336"/>
            <a:ext cx="6336704" cy="21602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cap="all" baseline="0">
                <a:solidFill>
                  <a:srgbClr val="53A8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Naam van deze </a:t>
            </a:r>
            <a:r>
              <a:rPr lang="nl-NL" dirty="0" err="1"/>
              <a:t>powerpoint</a:t>
            </a:r>
            <a:endParaRPr lang="nl-NL" dirty="0"/>
          </a:p>
        </p:txBody>
      </p:sp>
      <p:sp>
        <p:nvSpPr>
          <p:cNvPr id="5" name="Tijdelijke aanduiding voor afbeelding 2"/>
          <p:cNvSpPr>
            <a:spLocks noGrp="1"/>
          </p:cNvSpPr>
          <p:nvPr>
            <p:ph type="pic" idx="10"/>
          </p:nvPr>
        </p:nvSpPr>
        <p:spPr>
          <a:xfrm>
            <a:off x="755576" y="1556792"/>
            <a:ext cx="2592288" cy="4320480"/>
          </a:xfrm>
          <a:solidFill>
            <a:schemeClr val="bg1">
              <a:lumMod val="85000"/>
            </a:schemeClr>
          </a:solidFill>
        </p:spPr>
        <p:txBody>
          <a:bodyPr lIns="0" tIns="1080000" rIns="0" bIns="0" anchor="t" anchorCtr="0">
            <a:normAutofit/>
          </a:bodyPr>
          <a:lstStyle>
            <a:lvl1pPr marL="0" indent="0" algn="ctr">
              <a:buNone/>
              <a:defRPr sz="1800">
                <a:solidFill>
                  <a:srgbClr val="53A82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449609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NCR_PP titel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730" y="3933056"/>
            <a:ext cx="1763884" cy="1944216"/>
          </a:xfr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aseline="0">
                <a:solidFill>
                  <a:srgbClr val="091B4B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983730" y="6021288"/>
            <a:ext cx="1756596" cy="648072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400"/>
              </a:lnSpc>
              <a:buNone/>
              <a:defRPr sz="1600" baseline="0">
                <a:solidFill>
                  <a:srgbClr val="92D05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z="1400">
                <a:solidFill>
                  <a:srgbClr val="53A820"/>
                </a:solidFill>
                <a:latin typeface="Verdana"/>
                <a:cs typeface="Verdana"/>
              </a:rPr>
              <a:t>Klik om de ondertitelstijl van het model te bewerken</a:t>
            </a:r>
            <a:endParaRPr lang="nl-NL" sz="1400" dirty="0">
              <a:solidFill>
                <a:srgbClr val="53A82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791564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b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NCR_PP_lichter titel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371" y="0"/>
            <a:ext cx="914125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730" y="3933056"/>
            <a:ext cx="1763884" cy="1944216"/>
          </a:xfr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aseline="0">
                <a:solidFill>
                  <a:srgbClr val="22326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983730" y="6021288"/>
            <a:ext cx="1756596" cy="576064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400"/>
              </a:lnSpc>
              <a:buNone/>
              <a:defRPr sz="1600" baseline="0">
                <a:solidFill>
                  <a:srgbClr val="64B13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nl-NL" sz="1400" dirty="0">
              <a:solidFill>
                <a:srgbClr val="53A82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7625834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NCR_PP4 del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55576" y="2420888"/>
            <a:ext cx="7931224" cy="3456385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itel 1"/>
          <p:cNvSpPr>
            <a:spLocks noGrp="1"/>
          </p:cNvSpPr>
          <p:nvPr>
            <p:ph type="title"/>
          </p:nvPr>
        </p:nvSpPr>
        <p:spPr>
          <a:xfrm>
            <a:off x="755576" y="1556792"/>
            <a:ext cx="7947670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de stijl te bewerken</a:t>
            </a:r>
            <a:br>
              <a:rPr lang="nl-NL" dirty="0"/>
            </a:br>
            <a:endParaRPr lang="nl-NL" dirty="0"/>
          </a:p>
        </p:txBody>
      </p:sp>
      <p:sp>
        <p:nvSpPr>
          <p:cNvPr id="11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755576" y="6453336"/>
            <a:ext cx="6336704" cy="21602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cap="all" baseline="0">
                <a:solidFill>
                  <a:srgbClr val="53A8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/>
              <a:t>NCR SEMINAR 14 FEBRUARI 2014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648789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NCR_PP4 del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63888" y="2420888"/>
            <a:ext cx="5122912" cy="3456385"/>
          </a:xfrm>
        </p:spPr>
        <p:txBody>
          <a:bodyPr/>
          <a:lstStyle>
            <a:lvl1pPr>
              <a:defRPr>
                <a:solidFill>
                  <a:srgbClr val="223261"/>
                </a:solidFill>
              </a:defRPr>
            </a:lvl1pPr>
            <a:lvl2pPr>
              <a:defRPr>
                <a:solidFill>
                  <a:srgbClr val="223261"/>
                </a:solidFill>
              </a:defRPr>
            </a:lvl2pPr>
            <a:lvl3pPr>
              <a:defRPr>
                <a:solidFill>
                  <a:srgbClr val="223261"/>
                </a:solidFill>
              </a:defRPr>
            </a:lvl3pPr>
            <a:lvl4pPr>
              <a:defRPr>
                <a:solidFill>
                  <a:srgbClr val="223261"/>
                </a:solidFill>
              </a:defRPr>
            </a:lvl4pPr>
            <a:lvl5pPr>
              <a:defRPr>
                <a:solidFill>
                  <a:srgbClr val="223261"/>
                </a:solidFill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itel 1"/>
          <p:cNvSpPr>
            <a:spLocks noGrp="1"/>
          </p:cNvSpPr>
          <p:nvPr>
            <p:ph type="title"/>
          </p:nvPr>
        </p:nvSpPr>
        <p:spPr>
          <a:xfrm>
            <a:off x="3563888" y="1556792"/>
            <a:ext cx="5139358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23261"/>
                </a:solidFill>
              </a:defRPr>
            </a:lvl1pPr>
          </a:lstStyle>
          <a:p>
            <a:r>
              <a:rPr lang="nl-NL" dirty="0"/>
              <a:t>Klik om de stijl te bewerken</a:t>
            </a:r>
            <a:br>
              <a:rPr lang="nl-NL" dirty="0"/>
            </a:br>
            <a:endParaRPr lang="nl-NL" dirty="0"/>
          </a:p>
        </p:txBody>
      </p:sp>
      <p:sp>
        <p:nvSpPr>
          <p:cNvPr id="11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755576" y="6453336"/>
            <a:ext cx="6336704" cy="21602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cap="all" baseline="0">
                <a:solidFill>
                  <a:srgbClr val="53A8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/>
              <a:t>NCR SEMINAR 14 FEBRUARI 2014</a:t>
            </a:r>
            <a:endParaRPr lang="nl-NL" dirty="0"/>
          </a:p>
        </p:txBody>
      </p:sp>
      <p:sp>
        <p:nvSpPr>
          <p:cNvPr id="5" name="Tijdelijke aanduiding voor afbeelding 2"/>
          <p:cNvSpPr>
            <a:spLocks noGrp="1"/>
          </p:cNvSpPr>
          <p:nvPr>
            <p:ph type="pic" idx="10"/>
          </p:nvPr>
        </p:nvSpPr>
        <p:spPr>
          <a:xfrm>
            <a:off x="755576" y="1556792"/>
            <a:ext cx="2592288" cy="4320480"/>
          </a:xfrm>
          <a:solidFill>
            <a:schemeClr val="bg1">
              <a:lumMod val="85000"/>
            </a:schemeClr>
          </a:solidFill>
        </p:spPr>
        <p:txBody>
          <a:bodyPr lIns="0" tIns="1080000" rIns="0" bIns="0" anchor="t" anchorCtr="0">
            <a:normAutofit/>
          </a:bodyPr>
          <a:lstStyle>
            <a:lvl1pPr marL="0" indent="0" algn="ctr">
              <a:buNone/>
              <a:defRPr sz="1800">
                <a:solidFill>
                  <a:srgbClr val="53A82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488975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NCR_PP titel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730" y="3933056"/>
            <a:ext cx="1763884" cy="1944216"/>
          </a:xfr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aseline="0">
                <a:solidFill>
                  <a:srgbClr val="091B4B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983730" y="6021288"/>
            <a:ext cx="1756596" cy="576064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400"/>
              </a:lnSpc>
              <a:buNone/>
              <a:defRPr sz="1600" baseline="0">
                <a:solidFill>
                  <a:srgbClr val="92D05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nl-NL" sz="1400" dirty="0">
              <a:solidFill>
                <a:srgbClr val="53A82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153317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71600" y="5349214"/>
            <a:ext cx="7921575" cy="672075"/>
          </a:xfrm>
        </p:spPr>
        <p:txBody>
          <a:bodyPr lIns="0" rIns="0" anchor="ctr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971600" y="6021288"/>
            <a:ext cx="7921575" cy="576064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sz="1400" baseline="0">
                <a:solidFill>
                  <a:schemeClr val="tx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autho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  <a:endParaRPr lang="nl-NL" dirty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0" hasCustomPrompt="1"/>
          </p:nvPr>
        </p:nvSpPr>
        <p:spPr>
          <a:xfrm>
            <a:off x="971600" y="2705497"/>
            <a:ext cx="7921575" cy="259146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cover picture</a:t>
            </a:r>
            <a:endParaRPr lang="nl-NL" dirty="0"/>
          </a:p>
        </p:txBody>
      </p:sp>
      <p:pic>
        <p:nvPicPr>
          <p:cNvPr id="9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57" y="319003"/>
            <a:ext cx="3614377" cy="191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474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60500"/>
            <a:ext cx="8128000" cy="4889500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 marL="273050" indent="-273050">
              <a:buClr>
                <a:schemeClr val="accent1"/>
              </a:buClr>
              <a:buFont typeface="Verdana" pitchFamily="34" charset="0"/>
              <a:buChar char="●"/>
              <a:defRPr sz="1400"/>
            </a:lvl2pPr>
            <a:lvl3pPr>
              <a:buClr>
                <a:schemeClr val="accent1"/>
              </a:buClr>
              <a:defRPr sz="140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3E0553-2C6C-497F-867A-65E4A976FAE9}" type="slidenum">
              <a:rPr lang="nl-NL" smtClean="0">
                <a:solidFill>
                  <a:srgbClr val="3F4043"/>
                </a:solidFill>
              </a:rPr>
              <a:pPr/>
              <a:t>‹#›</a:t>
            </a:fld>
            <a:endParaRPr lang="nl-NL" dirty="0">
              <a:solidFill>
                <a:srgbClr val="3F4043"/>
              </a:solidFill>
            </a:endParaRPr>
          </a:p>
        </p:txBody>
      </p:sp>
      <p:sp>
        <p:nvSpPr>
          <p:cNvPr id="6" name="Tijdelijke aanduiding voor 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73672" y="354365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3410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tags" Target="../tags/tag31.xml"/><Relationship Id="rId3" Type="http://schemas.openxmlformats.org/officeDocument/2006/relationships/slideLayout" Target="../slideLayouts/slideLayout100.xml"/><Relationship Id="rId7" Type="http://schemas.openxmlformats.org/officeDocument/2006/relationships/theme" Target="../theme/theme10.x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tags" Target="../tags/tag29.x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4.emf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101.xml"/><Relationship Id="rId9" Type="http://schemas.openxmlformats.org/officeDocument/2006/relationships/tags" Target="../tags/tag27.xml"/><Relationship Id="rId14" Type="http://schemas.openxmlformats.org/officeDocument/2006/relationships/oleObject" Target="../embeddings/oleObject5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05.xml"/><Relationship Id="rId16" Type="http://schemas.openxmlformats.org/officeDocument/2006/relationships/tags" Target="../tags/tag3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27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37.xml"/><Relationship Id="rId7" Type="http://schemas.openxmlformats.org/officeDocument/2006/relationships/tags" Target="../tags/tag37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slideLayout" Target="../slideLayouts/slideLayout165.xml"/><Relationship Id="rId39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60.xml"/><Relationship Id="rId34" Type="http://schemas.openxmlformats.org/officeDocument/2006/relationships/slideLayout" Target="../slideLayouts/slideLayout173.xml"/><Relationship Id="rId42" Type="http://schemas.openxmlformats.org/officeDocument/2006/relationships/slideLayout" Target="../slideLayouts/slideLayout181.xml"/><Relationship Id="rId47" Type="http://schemas.openxmlformats.org/officeDocument/2006/relationships/slideLayout" Target="../slideLayouts/slideLayout186.xml"/><Relationship Id="rId50" Type="http://schemas.openxmlformats.org/officeDocument/2006/relationships/slideLayout" Target="../slideLayouts/slideLayout189.xml"/><Relationship Id="rId55" Type="http://schemas.openxmlformats.org/officeDocument/2006/relationships/slideLayout" Target="../slideLayouts/slideLayout194.xml"/><Relationship Id="rId63" Type="http://schemas.openxmlformats.org/officeDocument/2006/relationships/oleObject" Target="../embeddings/oleObject6.bin"/><Relationship Id="rId7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29" Type="http://schemas.openxmlformats.org/officeDocument/2006/relationships/slideLayout" Target="../slideLayouts/slideLayout168.xml"/><Relationship Id="rId41" Type="http://schemas.openxmlformats.org/officeDocument/2006/relationships/slideLayout" Target="../slideLayouts/slideLayout180.xml"/><Relationship Id="rId54" Type="http://schemas.openxmlformats.org/officeDocument/2006/relationships/slideLayout" Target="../slideLayouts/slideLayout193.xml"/><Relationship Id="rId62" Type="http://schemas.openxmlformats.org/officeDocument/2006/relationships/tags" Target="../tags/tag38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32" Type="http://schemas.openxmlformats.org/officeDocument/2006/relationships/slideLayout" Target="../slideLayouts/slideLayout171.xml"/><Relationship Id="rId37" Type="http://schemas.openxmlformats.org/officeDocument/2006/relationships/slideLayout" Target="../slideLayouts/slideLayout176.xml"/><Relationship Id="rId40" Type="http://schemas.openxmlformats.org/officeDocument/2006/relationships/slideLayout" Target="../slideLayouts/slideLayout179.xml"/><Relationship Id="rId45" Type="http://schemas.openxmlformats.org/officeDocument/2006/relationships/slideLayout" Target="../slideLayouts/slideLayout184.xml"/><Relationship Id="rId53" Type="http://schemas.openxmlformats.org/officeDocument/2006/relationships/slideLayout" Target="../slideLayouts/slideLayout192.xml"/><Relationship Id="rId58" Type="http://schemas.openxmlformats.org/officeDocument/2006/relationships/slideLayout" Target="../slideLayouts/slideLayout197.xml"/><Relationship Id="rId66" Type="http://schemas.openxmlformats.org/officeDocument/2006/relationships/image" Target="../media/image14.png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slideLayout" Target="../slideLayouts/slideLayout167.xml"/><Relationship Id="rId36" Type="http://schemas.openxmlformats.org/officeDocument/2006/relationships/slideLayout" Target="../slideLayouts/slideLayout175.xml"/><Relationship Id="rId49" Type="http://schemas.openxmlformats.org/officeDocument/2006/relationships/slideLayout" Target="../slideLayouts/slideLayout188.xml"/><Relationship Id="rId57" Type="http://schemas.openxmlformats.org/officeDocument/2006/relationships/slideLayout" Target="../slideLayouts/slideLayout196.xml"/><Relationship Id="rId61" Type="http://schemas.openxmlformats.org/officeDocument/2006/relationships/vmlDrawing" Target="../drawings/vmlDrawing6.v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31" Type="http://schemas.openxmlformats.org/officeDocument/2006/relationships/slideLayout" Target="../slideLayouts/slideLayout170.xml"/><Relationship Id="rId44" Type="http://schemas.openxmlformats.org/officeDocument/2006/relationships/slideLayout" Target="../slideLayouts/slideLayout183.xml"/><Relationship Id="rId52" Type="http://schemas.openxmlformats.org/officeDocument/2006/relationships/slideLayout" Target="../slideLayouts/slideLayout191.xml"/><Relationship Id="rId60" Type="http://schemas.openxmlformats.org/officeDocument/2006/relationships/theme" Target="../theme/theme14.xml"/><Relationship Id="rId65" Type="http://schemas.openxmlformats.org/officeDocument/2006/relationships/image" Target="../media/image13.jpeg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slideLayout" Target="../slideLayouts/slideLayout166.xml"/><Relationship Id="rId30" Type="http://schemas.openxmlformats.org/officeDocument/2006/relationships/slideLayout" Target="../slideLayouts/slideLayout169.xml"/><Relationship Id="rId35" Type="http://schemas.openxmlformats.org/officeDocument/2006/relationships/slideLayout" Target="../slideLayouts/slideLayout174.xml"/><Relationship Id="rId43" Type="http://schemas.openxmlformats.org/officeDocument/2006/relationships/slideLayout" Target="../slideLayouts/slideLayout182.xml"/><Relationship Id="rId48" Type="http://schemas.openxmlformats.org/officeDocument/2006/relationships/slideLayout" Target="../slideLayouts/slideLayout187.xml"/><Relationship Id="rId56" Type="http://schemas.openxmlformats.org/officeDocument/2006/relationships/slideLayout" Target="../slideLayouts/slideLayout195.xml"/><Relationship Id="rId64" Type="http://schemas.openxmlformats.org/officeDocument/2006/relationships/image" Target="../media/image4.emf"/><Relationship Id="rId8" Type="http://schemas.openxmlformats.org/officeDocument/2006/relationships/slideLayout" Target="../slideLayouts/slideLayout147.xml"/><Relationship Id="rId51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33" Type="http://schemas.openxmlformats.org/officeDocument/2006/relationships/slideLayout" Target="../slideLayouts/slideLayout172.xml"/><Relationship Id="rId38" Type="http://schemas.openxmlformats.org/officeDocument/2006/relationships/slideLayout" Target="../slideLayouts/slideLayout177.xml"/><Relationship Id="rId46" Type="http://schemas.openxmlformats.org/officeDocument/2006/relationships/slideLayout" Target="../slideLayouts/slideLayout185.xml"/><Relationship Id="rId59" Type="http://schemas.openxmlformats.org/officeDocument/2006/relationships/slideLayout" Target="../slideLayouts/slideLayout1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4.emf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3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image" Target="../media/image6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56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image" Target="../media/image6.w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0.xml"/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6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73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16.xml"/><Relationship Id="rId14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tags" Target="../tags/tag22.xml"/><Relationship Id="rId3" Type="http://schemas.openxmlformats.org/officeDocument/2006/relationships/slideLayout" Target="../slideLayouts/slideLayout77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76.xml"/><Relationship Id="rId16" Type="http://schemas.openxmlformats.org/officeDocument/2006/relationships/theme" Target="../theme/theme7.xml"/><Relationship Id="rId20" Type="http://schemas.openxmlformats.org/officeDocument/2006/relationships/tags" Target="../tags/tag2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84.xml"/><Relationship Id="rId19" Type="http://schemas.openxmlformats.org/officeDocument/2006/relationships/tags" Target="../tags/tag2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oleObject" Target="../embeddings/oleObject4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283884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de opmaakprofielen van de </a:t>
            </a:r>
            <a:r>
              <a:rPr lang="nl-NL" altLang="en-US" dirty="0" err="1" smtClean="0"/>
              <a:t>modeltekst</a:t>
            </a:r>
            <a:r>
              <a:rPr lang="nl-NL" altLang="en-US" dirty="0" smtClean="0"/>
              <a:t> te bewerken</a:t>
            </a:r>
          </a:p>
          <a:p>
            <a:pPr lvl="1"/>
            <a:r>
              <a:rPr lang="nl-NL" altLang="en-US" dirty="0" smtClean="0"/>
              <a:t>Tweede niveau, tweede niveau, tweede niveau, tweede niveau</a:t>
            </a:r>
          </a:p>
          <a:p>
            <a:pPr lvl="2"/>
            <a:r>
              <a:rPr lang="nl-NL" altLang="en-US" dirty="0" smtClean="0"/>
              <a:t>Derde niveau, derde niveau, derde niveau, derde niveau, derde</a:t>
            </a:r>
          </a:p>
          <a:p>
            <a:pPr lvl="3"/>
            <a:r>
              <a:rPr lang="nl-NL" altLang="en-US" dirty="0" smtClean="0"/>
              <a:t>Vierde niveau, vierde niveau, vierde niveau, vierde niveau, vierde niveau,</a:t>
            </a:r>
          </a:p>
          <a:p>
            <a:pPr lvl="4"/>
            <a:r>
              <a:rPr lang="nl-NL" altLang="en-US" dirty="0" smtClean="0"/>
              <a:t>Vijfde niveau, vijfde niveau, vijfde niveau, vijfde niveau, vijfde niveau,</a:t>
            </a:r>
          </a:p>
        </p:txBody>
      </p:sp>
      <p:pic>
        <p:nvPicPr>
          <p:cNvPr id="4100" name="Picture 4" descr="FC logo klein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9400"/>
            <a:ext cx="1404937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179388" y="6237288"/>
            <a:ext cx="504825" cy="62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3600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250825" y="6021388"/>
            <a:ext cx="57626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>
            <a:lvl1pPr algn="l">
              <a:spcBef>
                <a:spcPct val="20000"/>
              </a:spcBef>
              <a:buClr>
                <a:schemeClr val="tx2"/>
              </a:buClr>
              <a:defRPr sz="1600">
                <a:solidFill>
                  <a:schemeClr val="tx2"/>
                </a:solidFill>
                <a:latin typeface="Verdana" pitchFamily="34" charset="0"/>
              </a:defRPr>
            </a:lvl1pPr>
            <a:lvl2pPr marL="209550" indent="-207963" algn="l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rgbClr val="3F4043"/>
                </a:solidFill>
                <a:latin typeface="Verdana" pitchFamily="34" charset="0"/>
              </a:defRPr>
            </a:lvl2pPr>
            <a:lvl3pPr marL="425450" indent="-214313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600">
                <a:solidFill>
                  <a:srgbClr val="3F4043"/>
                </a:solidFill>
                <a:latin typeface="Verdana" pitchFamily="34" charset="0"/>
              </a:defRPr>
            </a:lvl3pPr>
            <a:lvl4pPr marL="617538" indent="-190500" algn="l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rgbClr val="3F4043"/>
                </a:solidFill>
                <a:latin typeface="Verdana" pitchFamily="34" charset="0"/>
              </a:defRPr>
            </a:lvl4pPr>
            <a:lvl5pPr marL="806450" indent="-187325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5pPr>
            <a:lvl6pPr marL="12636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6pPr>
            <a:lvl7pPr marL="17208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7pPr>
            <a:lvl8pPr marL="21780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8pPr>
            <a:lvl9pPr marL="26352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0094D9"/>
              </a:buClr>
            </a:pPr>
            <a:endParaRPr lang="en-GB" altLang="en-US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10" name="Slide Number Placeholder 2"/>
          <p:cNvSpPr txBox="1"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8686800" y="6577012"/>
            <a:ext cx="441574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B05BC6E-3D80-4276-9864-E007A676530B}" type="slidenum">
              <a:rPr lang="en-US" sz="900">
                <a:solidFill>
                  <a:srgbClr val="6E6F72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6E6F72"/>
              </a:solidFill>
              <a:latin typeface="Verdana" pitchFamily="34" charset="0"/>
            </a:endParaRPr>
          </a:p>
        </p:txBody>
      </p:sp>
      <p:sp>
        <p:nvSpPr>
          <p:cNvPr id="2" name="RFC_Text_Format" hidden="1"/>
          <p:cNvSpPr txBox="1"/>
          <p:nvPr userDrawn="1"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endParaRPr lang="en-US" sz="1400" dirty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035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01677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2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473672" y="354365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761999" y="1460500"/>
            <a:ext cx="8131175" cy="48895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mtClean="0">
                <a:solidFill>
                  <a:srgbClr val="3F404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7" name="No_Go_Area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3" name="Picture 2" descr="G:\depsharesHQ\Corporate Communication\Logo's\logo FrieslandCampina\tagline\Nbn_tag_with_FC_final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94" y="241598"/>
            <a:ext cx="1456210" cy="77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FC_Text_Format" hidden="1"/>
          <p:cNvSpPr txBox="1"/>
          <p:nvPr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>
              <a:buClr>
                <a:srgbClr val="0094D9"/>
              </a:buClr>
              <a:buFontTx/>
              <a:buChar char="•"/>
            </a:pPr>
            <a:endParaRPr lang="en-US" sz="1400" dirty="0" smtClean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550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9" r:id="rId3"/>
    <p:sldLayoutId id="2147483970" r:id="rId4"/>
    <p:sldLayoutId id="2147483971" r:id="rId5"/>
    <p:sldLayoutId id="2147483972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r" defTabSz="914400" rtl="0" eaLnBrk="1" latinLnBrk="0" hangingPunct="1">
        <a:spcBef>
          <a:spcPct val="0"/>
        </a:spcBef>
        <a:buNone/>
        <a:defRPr sz="2000" kern="120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400" kern="1200">
          <a:solidFill>
            <a:schemeClr val="accent1"/>
          </a:solidFill>
          <a:latin typeface="Verdana" pitchFamily="34" charset="0"/>
          <a:ea typeface="+mn-ea"/>
          <a:cs typeface="+mn-cs"/>
        </a:defRPr>
      </a:lvl1pPr>
      <a:lvl2pPr marL="273050" indent="-2730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1400" kern="1200">
          <a:solidFill>
            <a:schemeClr val="tx2"/>
          </a:solidFill>
          <a:latin typeface="Verdana" pitchFamily="34" charset="0"/>
          <a:ea typeface="+mn-ea"/>
          <a:cs typeface="+mn-cs"/>
        </a:defRPr>
      </a:lvl2pPr>
      <a:lvl3pPr marL="641350" indent="-2857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1400" kern="1200">
          <a:solidFill>
            <a:schemeClr val="tx2"/>
          </a:solidFill>
          <a:latin typeface="Verdana" pitchFamily="34" charset="0"/>
          <a:ea typeface="+mn-ea"/>
          <a:cs typeface="+mn-cs"/>
        </a:defRPr>
      </a:lvl3pPr>
      <a:lvl4pPr marL="985838" indent="-265113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Verdana" pitchFamily="34" charset="0"/>
        <a:buChar char="●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4pPr>
      <a:lvl5pPr marL="1341438" indent="-265113" algn="l" defTabSz="914400" rtl="0" eaLnBrk="1" latinLnBrk="0" hangingPunct="1">
        <a:spcBef>
          <a:spcPts val="300"/>
        </a:spcBef>
        <a:buClr>
          <a:schemeClr val="tx2"/>
        </a:buClr>
        <a:buFont typeface="Verdana" pitchFamily="34" charset="0"/>
        <a:buChar char="›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283884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de opmaakprofielen van de </a:t>
            </a:r>
            <a:r>
              <a:rPr lang="nl-NL" altLang="en-US" dirty="0" err="1" smtClean="0"/>
              <a:t>modeltekst</a:t>
            </a:r>
            <a:r>
              <a:rPr lang="nl-NL" altLang="en-US" dirty="0" smtClean="0"/>
              <a:t> te bewerken</a:t>
            </a:r>
          </a:p>
          <a:p>
            <a:pPr lvl="1"/>
            <a:r>
              <a:rPr lang="nl-NL" altLang="en-US" dirty="0" smtClean="0"/>
              <a:t>Tweede niveau, tweede niveau, tweede niveau, tweede niveau</a:t>
            </a:r>
          </a:p>
          <a:p>
            <a:pPr lvl="2"/>
            <a:r>
              <a:rPr lang="nl-NL" altLang="en-US" dirty="0" smtClean="0"/>
              <a:t>Derde niveau, derde niveau, derde niveau, derde niveau, derde</a:t>
            </a:r>
          </a:p>
          <a:p>
            <a:pPr lvl="3"/>
            <a:r>
              <a:rPr lang="nl-NL" altLang="en-US" dirty="0" smtClean="0"/>
              <a:t>Vierde niveau, vierde niveau, vierde niveau, vierde niveau, vierde niveau,</a:t>
            </a:r>
          </a:p>
          <a:p>
            <a:pPr lvl="4"/>
            <a:r>
              <a:rPr lang="nl-NL" altLang="en-US" dirty="0" smtClean="0"/>
              <a:t>Vijfde niveau, vijfde niveau, vijfde niveau, vijfde niveau, vijfde niveau,</a:t>
            </a:r>
          </a:p>
        </p:txBody>
      </p:sp>
      <p:pic>
        <p:nvPicPr>
          <p:cNvPr id="4100" name="Picture 4" descr="FC logo klein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9400"/>
            <a:ext cx="1404937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179388" y="6237288"/>
            <a:ext cx="504825" cy="62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3600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250825" y="6021388"/>
            <a:ext cx="57626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>
            <a:lvl1pPr algn="l">
              <a:spcBef>
                <a:spcPct val="20000"/>
              </a:spcBef>
              <a:buClr>
                <a:schemeClr val="tx2"/>
              </a:buClr>
              <a:defRPr sz="1600">
                <a:solidFill>
                  <a:schemeClr val="tx2"/>
                </a:solidFill>
                <a:latin typeface="Verdana" pitchFamily="34" charset="0"/>
              </a:defRPr>
            </a:lvl1pPr>
            <a:lvl2pPr marL="209550" indent="-207963" algn="l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rgbClr val="3F4043"/>
                </a:solidFill>
                <a:latin typeface="Verdana" pitchFamily="34" charset="0"/>
              </a:defRPr>
            </a:lvl2pPr>
            <a:lvl3pPr marL="425450" indent="-214313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600">
                <a:solidFill>
                  <a:srgbClr val="3F4043"/>
                </a:solidFill>
                <a:latin typeface="Verdana" pitchFamily="34" charset="0"/>
              </a:defRPr>
            </a:lvl3pPr>
            <a:lvl4pPr marL="617538" indent="-190500" algn="l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rgbClr val="3F4043"/>
                </a:solidFill>
                <a:latin typeface="Verdana" pitchFamily="34" charset="0"/>
              </a:defRPr>
            </a:lvl4pPr>
            <a:lvl5pPr marL="806450" indent="-187325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5pPr>
            <a:lvl6pPr marL="12636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6pPr>
            <a:lvl7pPr marL="17208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7pPr>
            <a:lvl8pPr marL="21780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8pPr>
            <a:lvl9pPr marL="26352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0094D9"/>
              </a:buClr>
            </a:pPr>
            <a:endParaRPr lang="en-GB" altLang="en-US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10" name="Slide Number Placeholder 2"/>
          <p:cNvSpPr txBox="1"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8686800" y="6577012"/>
            <a:ext cx="441574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B05BC6E-3D80-4276-9864-E007A676530B}" type="slidenum">
              <a:rPr lang="en-US" sz="900">
                <a:solidFill>
                  <a:srgbClr val="6E6F72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6E6F72"/>
              </a:solidFill>
              <a:latin typeface="Verdana" pitchFamily="34" charset="0"/>
            </a:endParaRPr>
          </a:p>
        </p:txBody>
      </p:sp>
      <p:sp>
        <p:nvSpPr>
          <p:cNvPr id="2" name="RFC_Text_Format" hidden="1"/>
          <p:cNvSpPr txBox="1"/>
          <p:nvPr userDrawn="1"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endParaRPr lang="en-US" sz="1400" dirty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760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283884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de opmaakprofielen van de </a:t>
            </a:r>
            <a:r>
              <a:rPr lang="nl-NL" altLang="en-US" dirty="0" err="1" smtClean="0"/>
              <a:t>modeltekst</a:t>
            </a:r>
            <a:r>
              <a:rPr lang="nl-NL" altLang="en-US" dirty="0" smtClean="0"/>
              <a:t> te bewerken</a:t>
            </a:r>
          </a:p>
          <a:p>
            <a:pPr lvl="1"/>
            <a:r>
              <a:rPr lang="nl-NL" altLang="en-US" dirty="0" smtClean="0"/>
              <a:t>Tweede niveau, tweede niveau, tweede niveau, tweede niveau</a:t>
            </a:r>
          </a:p>
          <a:p>
            <a:pPr lvl="2"/>
            <a:r>
              <a:rPr lang="nl-NL" altLang="en-US" dirty="0" smtClean="0"/>
              <a:t>Derde niveau, derde niveau, derde niveau, derde niveau, derde</a:t>
            </a:r>
          </a:p>
          <a:p>
            <a:pPr lvl="3"/>
            <a:r>
              <a:rPr lang="nl-NL" altLang="en-US" dirty="0" smtClean="0"/>
              <a:t>Vierde niveau, vierde niveau, vierde niveau, vierde niveau, vierde niveau,</a:t>
            </a:r>
          </a:p>
          <a:p>
            <a:pPr lvl="4"/>
            <a:r>
              <a:rPr lang="nl-NL" altLang="en-US" dirty="0" smtClean="0"/>
              <a:t>Vijfde niveau, vijfde niveau, vijfde niveau, vijfde niveau, vijfde niveau,</a:t>
            </a:r>
          </a:p>
        </p:txBody>
      </p:sp>
      <p:pic>
        <p:nvPicPr>
          <p:cNvPr id="4100" name="Picture 4" descr="FC logo klein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9400"/>
            <a:ext cx="1404937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179388" y="6237288"/>
            <a:ext cx="504825" cy="62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3600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250825" y="6021388"/>
            <a:ext cx="57626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>
            <a:lvl1pPr algn="l">
              <a:spcBef>
                <a:spcPct val="20000"/>
              </a:spcBef>
              <a:buClr>
                <a:schemeClr val="tx2"/>
              </a:buClr>
              <a:defRPr sz="1600">
                <a:solidFill>
                  <a:schemeClr val="tx2"/>
                </a:solidFill>
                <a:latin typeface="Verdana" pitchFamily="34" charset="0"/>
              </a:defRPr>
            </a:lvl1pPr>
            <a:lvl2pPr marL="209550" indent="-207963" algn="l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rgbClr val="3F4043"/>
                </a:solidFill>
                <a:latin typeface="Verdana" pitchFamily="34" charset="0"/>
              </a:defRPr>
            </a:lvl2pPr>
            <a:lvl3pPr marL="425450" indent="-214313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600">
                <a:solidFill>
                  <a:srgbClr val="3F4043"/>
                </a:solidFill>
                <a:latin typeface="Verdana" pitchFamily="34" charset="0"/>
              </a:defRPr>
            </a:lvl3pPr>
            <a:lvl4pPr marL="617538" indent="-190500" algn="l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rgbClr val="3F4043"/>
                </a:solidFill>
                <a:latin typeface="Verdana" pitchFamily="34" charset="0"/>
              </a:defRPr>
            </a:lvl4pPr>
            <a:lvl5pPr marL="806450" indent="-187325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5pPr>
            <a:lvl6pPr marL="12636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6pPr>
            <a:lvl7pPr marL="17208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7pPr>
            <a:lvl8pPr marL="21780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8pPr>
            <a:lvl9pPr marL="26352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0094D9"/>
              </a:buClr>
            </a:pPr>
            <a:endParaRPr lang="en-GB" altLang="en-US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10" name="Slide Number Placeholder 2"/>
          <p:cNvSpPr txBox="1">
            <a:spLocks noGrp="1"/>
          </p:cNvSpPr>
          <p:nvPr userDrawn="1">
            <p:custDataLst>
              <p:tags r:id="rId19"/>
            </p:custDataLst>
          </p:nvPr>
        </p:nvSpPr>
        <p:spPr bwMode="auto">
          <a:xfrm>
            <a:off x="8686800" y="6577012"/>
            <a:ext cx="441574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B05BC6E-3D80-4276-9864-E007A676530B}" type="slidenum">
              <a:rPr lang="en-US" sz="900">
                <a:solidFill>
                  <a:srgbClr val="6E6F72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6E6F72"/>
              </a:solidFill>
              <a:latin typeface="Verdana" pitchFamily="34" charset="0"/>
            </a:endParaRPr>
          </a:p>
        </p:txBody>
      </p:sp>
      <p:sp>
        <p:nvSpPr>
          <p:cNvPr id="2" name="RFC_Text_Format" hidden="1"/>
          <p:cNvSpPr txBox="1"/>
          <p:nvPr userDrawn="1"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endParaRPr lang="en-US" sz="1400" dirty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80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2" r:id="rId14"/>
    <p:sldLayoutId id="2147484013" r:id="rId15"/>
    <p:sldLayoutId id="2147484014" r:id="rId16"/>
    <p:sldLayoutId id="2147484015" r:id="rId17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283884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de opmaakprofielen van de </a:t>
            </a:r>
            <a:r>
              <a:rPr lang="nl-NL" altLang="en-US" dirty="0" err="1" smtClean="0"/>
              <a:t>modeltekst</a:t>
            </a:r>
            <a:r>
              <a:rPr lang="nl-NL" altLang="en-US" dirty="0" smtClean="0"/>
              <a:t> te bewerken</a:t>
            </a:r>
          </a:p>
          <a:p>
            <a:pPr lvl="1"/>
            <a:r>
              <a:rPr lang="nl-NL" altLang="en-US" dirty="0" smtClean="0"/>
              <a:t>Tweede niveau, tweede niveau, tweede niveau, tweede niveau</a:t>
            </a:r>
          </a:p>
          <a:p>
            <a:pPr lvl="2"/>
            <a:r>
              <a:rPr lang="nl-NL" altLang="en-US" dirty="0" smtClean="0"/>
              <a:t>Derde niveau, derde niveau, derde niveau, derde niveau, derde</a:t>
            </a:r>
          </a:p>
          <a:p>
            <a:pPr lvl="3"/>
            <a:r>
              <a:rPr lang="nl-NL" altLang="en-US" dirty="0" smtClean="0"/>
              <a:t>Vierde niveau, vierde niveau, vierde niveau, vierde niveau, vierde niveau,</a:t>
            </a:r>
          </a:p>
          <a:p>
            <a:pPr lvl="4"/>
            <a:r>
              <a:rPr lang="nl-NL" altLang="en-US" dirty="0" smtClean="0"/>
              <a:t>Vijfde niveau, vijfde niveau, vijfde niveau, vijfde niveau, vijfde niveau,</a:t>
            </a:r>
          </a:p>
        </p:txBody>
      </p:sp>
      <p:pic>
        <p:nvPicPr>
          <p:cNvPr id="4100" name="Picture 4" descr="FC logo klei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9400"/>
            <a:ext cx="1404937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179388" y="6237288"/>
            <a:ext cx="504825" cy="62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3600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250825" y="6021388"/>
            <a:ext cx="57626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>
            <a:lvl1pPr algn="l">
              <a:spcBef>
                <a:spcPct val="20000"/>
              </a:spcBef>
              <a:buClr>
                <a:schemeClr val="tx2"/>
              </a:buClr>
              <a:defRPr sz="1600">
                <a:solidFill>
                  <a:schemeClr val="tx2"/>
                </a:solidFill>
                <a:latin typeface="Verdana" pitchFamily="34" charset="0"/>
              </a:defRPr>
            </a:lvl1pPr>
            <a:lvl2pPr marL="209550" indent="-207963" algn="l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rgbClr val="3F4043"/>
                </a:solidFill>
                <a:latin typeface="Verdana" pitchFamily="34" charset="0"/>
              </a:defRPr>
            </a:lvl2pPr>
            <a:lvl3pPr marL="425450" indent="-214313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600">
                <a:solidFill>
                  <a:srgbClr val="3F4043"/>
                </a:solidFill>
                <a:latin typeface="Verdana" pitchFamily="34" charset="0"/>
              </a:defRPr>
            </a:lvl3pPr>
            <a:lvl4pPr marL="617538" indent="-190500" algn="l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rgbClr val="3F4043"/>
                </a:solidFill>
                <a:latin typeface="Verdana" pitchFamily="34" charset="0"/>
              </a:defRPr>
            </a:lvl4pPr>
            <a:lvl5pPr marL="806450" indent="-187325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5pPr>
            <a:lvl6pPr marL="12636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6pPr>
            <a:lvl7pPr marL="17208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7pPr>
            <a:lvl8pPr marL="21780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8pPr>
            <a:lvl9pPr marL="26352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0094D9"/>
              </a:buClr>
            </a:pPr>
            <a:endParaRPr lang="en-GB" altLang="en-US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10" name="Slide Number Placeholder 2"/>
          <p:cNvSpPr txBox="1">
            <a:spLocks noGrp="1"/>
          </p:cNvSpPr>
          <p:nvPr userDrawn="1">
            <p:custDataLst>
              <p:tags r:id="rId7"/>
            </p:custDataLst>
          </p:nvPr>
        </p:nvSpPr>
        <p:spPr bwMode="auto">
          <a:xfrm>
            <a:off x="8686800" y="6577012"/>
            <a:ext cx="441574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B05BC6E-3D80-4276-9864-E007A676530B}" type="slidenum">
              <a:rPr lang="en-US" sz="900">
                <a:solidFill>
                  <a:srgbClr val="6E6F72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6E6F72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943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4208877048"/>
              </p:ext>
            </p:extLst>
          </p:nvPr>
        </p:nvGraphicFramePr>
        <p:xfrm>
          <a:off x="1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2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2267744" y="188643"/>
            <a:ext cx="6625440" cy="93610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23531" y="1268760"/>
            <a:ext cx="8569646" cy="508124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First bullet level</a:t>
            </a:r>
          </a:p>
          <a:p>
            <a:pPr lvl="2"/>
            <a:r>
              <a:rPr lang="en-US" noProof="0" dirty="0" smtClean="0"/>
              <a:t>Second bullet level</a:t>
            </a:r>
          </a:p>
        </p:txBody>
      </p:sp>
      <p:sp>
        <p:nvSpPr>
          <p:cNvPr id="7" name="No_Go_Area" hidden="1"/>
          <p:cNvSpPr/>
          <p:nvPr/>
        </p:nvSpPr>
        <p:spPr>
          <a:xfrm>
            <a:off x="0" y="9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4" tIns="45676" rIns="91354" bIns="45676" rtlCol="0" anchor="ctr"/>
          <a:lstStyle/>
          <a:p>
            <a:pPr algn="ctr" defTabSz="913529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2" descr="G:\depsharesHQ\Corporate Communication\Logo's\logo FrieslandCampina\tagline\Nbn_tag_with_FC_final.jpg"/>
          <p:cNvPicPr>
            <a:picLocks noChangeAspect="1" noChangeArrowheads="1"/>
          </p:cNvPicPr>
          <p:nvPr userDrawn="1"/>
        </p:nvPicPr>
        <p:blipFill rotWithShape="1"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58"/>
          <a:stretch/>
        </p:blipFill>
        <p:spPr bwMode="auto">
          <a:xfrm>
            <a:off x="179512" y="132451"/>
            <a:ext cx="1871902" cy="820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" name="Picture 501"/>
          <p:cNvPicPr>
            <a:picLocks noChangeAspect="1" noChangeArrowheads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63084"/>
            <a:ext cx="9144000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7611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  <p:sldLayoutId id="2147484041" r:id="rId19"/>
    <p:sldLayoutId id="2147484042" r:id="rId20"/>
    <p:sldLayoutId id="2147484043" r:id="rId21"/>
    <p:sldLayoutId id="2147484044" r:id="rId22"/>
    <p:sldLayoutId id="2147484045" r:id="rId23"/>
    <p:sldLayoutId id="2147484046" r:id="rId24"/>
    <p:sldLayoutId id="2147484047" r:id="rId25"/>
    <p:sldLayoutId id="2147484048" r:id="rId26"/>
    <p:sldLayoutId id="2147484049" r:id="rId27"/>
    <p:sldLayoutId id="2147484050" r:id="rId28"/>
    <p:sldLayoutId id="2147484051" r:id="rId29"/>
    <p:sldLayoutId id="2147484052" r:id="rId30"/>
    <p:sldLayoutId id="2147484053" r:id="rId31"/>
    <p:sldLayoutId id="2147484054" r:id="rId32"/>
    <p:sldLayoutId id="2147484055" r:id="rId33"/>
    <p:sldLayoutId id="2147484056" r:id="rId34"/>
    <p:sldLayoutId id="2147484057" r:id="rId35"/>
    <p:sldLayoutId id="2147484058" r:id="rId36"/>
    <p:sldLayoutId id="2147484059" r:id="rId37"/>
    <p:sldLayoutId id="2147484060" r:id="rId38"/>
    <p:sldLayoutId id="2147484061" r:id="rId39"/>
    <p:sldLayoutId id="2147484062" r:id="rId40"/>
    <p:sldLayoutId id="2147484063" r:id="rId41"/>
    <p:sldLayoutId id="2147484064" r:id="rId42"/>
    <p:sldLayoutId id="2147484065" r:id="rId43"/>
    <p:sldLayoutId id="2147484066" r:id="rId44"/>
    <p:sldLayoutId id="2147484067" r:id="rId45"/>
    <p:sldLayoutId id="2147484068" r:id="rId46"/>
    <p:sldLayoutId id="2147484069" r:id="rId47"/>
    <p:sldLayoutId id="2147484070" r:id="rId48"/>
    <p:sldLayoutId id="2147484071" r:id="rId49"/>
    <p:sldLayoutId id="2147484072" r:id="rId50"/>
    <p:sldLayoutId id="2147484073" r:id="rId51"/>
    <p:sldLayoutId id="2147484074" r:id="rId52"/>
    <p:sldLayoutId id="2147484075" r:id="rId53"/>
    <p:sldLayoutId id="2147484076" r:id="rId54"/>
    <p:sldLayoutId id="2147484077" r:id="rId55"/>
    <p:sldLayoutId id="2147484078" r:id="rId56"/>
    <p:sldLayoutId id="2147484079" r:id="rId57"/>
    <p:sldLayoutId id="2147484080" r:id="rId58"/>
    <p:sldLayoutId id="2147484081" r:id="rId59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r" defTabSz="913529" rtl="0" eaLnBrk="1" latinLnBrk="0" hangingPunct="1">
        <a:spcBef>
          <a:spcPct val="0"/>
        </a:spcBef>
        <a:buNone/>
        <a:defRPr sz="2400" kern="120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3529" rtl="0" eaLnBrk="1" latinLnBrk="0" hangingPunct="1">
        <a:spcBef>
          <a:spcPts val="300"/>
        </a:spcBef>
        <a:buFont typeface="Arial" pitchFamily="34" charset="0"/>
        <a:buNone/>
        <a:defRPr sz="2000" kern="1200">
          <a:solidFill>
            <a:schemeClr val="accent1"/>
          </a:solidFill>
          <a:latin typeface="Verdana" pitchFamily="34" charset="0"/>
          <a:ea typeface="+mn-ea"/>
          <a:cs typeface="+mn-cs"/>
        </a:defRPr>
      </a:lvl1pPr>
      <a:lvl2pPr marL="272789" indent="-272789" algn="l" defTabSz="913529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2pPr>
      <a:lvl3pPr marL="640739" indent="-285479" algn="l" defTabSz="913529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3pPr>
      <a:lvl4pPr marL="984899" indent="-264860" algn="l" defTabSz="913529" rtl="0" eaLnBrk="1" latinLnBrk="0" hangingPunct="1">
        <a:spcBef>
          <a:spcPts val="300"/>
        </a:spcBef>
        <a:buClr>
          <a:schemeClr val="tx1"/>
        </a:buClr>
        <a:buSzPct val="90000"/>
        <a:buFont typeface="Verdana" pitchFamily="34" charset="0"/>
        <a:buChar char="●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4pPr>
      <a:lvl5pPr marL="1340159" indent="-264860" algn="l" defTabSz="913529" rtl="0" eaLnBrk="1" latinLnBrk="0" hangingPunct="1">
        <a:spcBef>
          <a:spcPts val="300"/>
        </a:spcBef>
        <a:buClr>
          <a:schemeClr val="tx2"/>
        </a:buClr>
        <a:buFont typeface="Verdana" pitchFamily="34" charset="0"/>
        <a:buChar char="›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5pPr>
      <a:lvl6pPr marL="2512202" indent="-228380" algn="l" defTabSz="9135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966" indent="-228380" algn="l" defTabSz="9135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731" indent="-228380" algn="l" defTabSz="9135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494" indent="-228380" algn="l" defTabSz="9135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8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9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92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56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21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85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49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113" algn="l" defTabSz="9135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549639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473672" y="354365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761999" y="1460500"/>
            <a:ext cx="8131175" cy="48895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C3E0553-2C6C-497F-867A-65E4A976FAE9}" type="slidenum">
              <a:rPr lang="nl-NL" smtClean="0">
                <a:solidFill>
                  <a:srgbClr val="3F404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dirty="0">
              <a:solidFill>
                <a:srgbClr val="3F4043"/>
              </a:solidFill>
              <a:cs typeface="Arial" charset="0"/>
            </a:endParaRPr>
          </a:p>
        </p:txBody>
      </p:sp>
      <p:sp>
        <p:nvSpPr>
          <p:cNvPr id="7" name="No_Go_Area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3" name="Picture 2" descr="G:\depsharesHQ\Corporate Communication\Logo's\logo FrieslandCampina\tagline\Nbn_tag_with_FC_final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94" y="241598"/>
            <a:ext cx="1456210" cy="77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FC_Text_Format" hidden="1"/>
          <p:cNvSpPr txBox="1"/>
          <p:nvPr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>
              <a:buClr>
                <a:srgbClr val="0094D9"/>
              </a:buClr>
              <a:buFontTx/>
              <a:buChar char="•"/>
            </a:pPr>
            <a:endParaRPr lang="en-US" sz="1400" dirty="0" smtClean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929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2" r:id="rId3"/>
    <p:sldLayoutId id="2147483733" r:id="rId4"/>
    <p:sldLayoutId id="2147483734" r:id="rId5"/>
    <p:sldLayoutId id="2147483735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r" defTabSz="914400" rtl="0" eaLnBrk="1" latinLnBrk="0" hangingPunct="1">
        <a:spcBef>
          <a:spcPct val="0"/>
        </a:spcBef>
        <a:buNone/>
        <a:defRPr sz="2000" kern="120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400" kern="1200">
          <a:solidFill>
            <a:schemeClr val="accent1"/>
          </a:solidFill>
          <a:latin typeface="Verdana" pitchFamily="34" charset="0"/>
          <a:ea typeface="+mn-ea"/>
          <a:cs typeface="+mn-cs"/>
        </a:defRPr>
      </a:lvl1pPr>
      <a:lvl2pPr marL="273050" indent="-2730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1400" kern="1200">
          <a:solidFill>
            <a:schemeClr val="tx2"/>
          </a:solidFill>
          <a:latin typeface="Verdana" pitchFamily="34" charset="0"/>
          <a:ea typeface="+mn-ea"/>
          <a:cs typeface="+mn-cs"/>
        </a:defRPr>
      </a:lvl2pPr>
      <a:lvl3pPr marL="641350" indent="-2857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1400" kern="1200">
          <a:solidFill>
            <a:schemeClr val="tx2"/>
          </a:solidFill>
          <a:latin typeface="Verdana" pitchFamily="34" charset="0"/>
          <a:ea typeface="+mn-ea"/>
          <a:cs typeface="+mn-cs"/>
        </a:defRPr>
      </a:lvl3pPr>
      <a:lvl4pPr marL="985838" indent="-265113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Verdana" pitchFamily="34" charset="0"/>
        <a:buChar char="●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4pPr>
      <a:lvl5pPr marL="1341438" indent="-265113" algn="l" defTabSz="914400" rtl="0" eaLnBrk="1" latinLnBrk="0" hangingPunct="1">
        <a:spcBef>
          <a:spcPts val="300"/>
        </a:spcBef>
        <a:buClr>
          <a:schemeClr val="tx2"/>
        </a:buClr>
        <a:buFont typeface="Verdana" pitchFamily="34" charset="0"/>
        <a:buChar char="›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508000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Klik om het opmaakprofiel te bewer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Klik om de opmaakprofielen van de modeltekst te bewerken</a:t>
            </a:r>
          </a:p>
          <a:p>
            <a:pPr lvl="1"/>
            <a:r>
              <a:rPr lang="nl-NL" smtClean="0"/>
              <a:t>Tweede niveau, tweede niveau, tweede niveau, tweede niveau</a:t>
            </a:r>
          </a:p>
          <a:p>
            <a:pPr lvl="2"/>
            <a:r>
              <a:rPr lang="nl-NL" smtClean="0"/>
              <a:t>Derde niveau, derde niveau, derde niveau, derde niveau, derde</a:t>
            </a:r>
          </a:p>
          <a:p>
            <a:pPr lvl="3"/>
            <a:r>
              <a:rPr lang="nl-NL" smtClean="0"/>
              <a:t>Vierde niveau, vierde niveau, vierde niveau, vierde niveau, vierde niveau,</a:t>
            </a:r>
          </a:p>
          <a:p>
            <a:pPr lvl="4"/>
            <a:r>
              <a:rPr lang="nl-NL" smtClean="0"/>
              <a:t>Vijfde niveau, vijfde niveau, vijfde niveau, vijfde niveau, vijfde niveau,</a:t>
            </a:r>
          </a:p>
          <a:p>
            <a:pPr lvl="4"/>
            <a:endParaRPr lang="nl-NL" smtClean="0"/>
          </a:p>
        </p:txBody>
      </p:sp>
      <p:pic>
        <p:nvPicPr>
          <p:cNvPr id="1028" name="Afbeelding 1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80988"/>
            <a:ext cx="141605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97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283884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 dirty="0" smtClean="0"/>
              <a:t>Klik om de opmaakprofielen van de </a:t>
            </a:r>
            <a:r>
              <a:rPr lang="nl-NL" altLang="en-US" dirty="0" err="1" smtClean="0"/>
              <a:t>modeltekst</a:t>
            </a:r>
            <a:r>
              <a:rPr lang="nl-NL" altLang="en-US" dirty="0" smtClean="0"/>
              <a:t> te bewerken</a:t>
            </a:r>
          </a:p>
          <a:p>
            <a:pPr lvl="1"/>
            <a:r>
              <a:rPr lang="nl-NL" altLang="en-US" dirty="0" smtClean="0"/>
              <a:t>Tweede niveau, tweede niveau, tweede niveau, tweede niveau</a:t>
            </a:r>
          </a:p>
          <a:p>
            <a:pPr lvl="2"/>
            <a:r>
              <a:rPr lang="nl-NL" altLang="en-US" dirty="0" smtClean="0"/>
              <a:t>Derde niveau, derde niveau, derde niveau, derde niveau, derde</a:t>
            </a:r>
          </a:p>
          <a:p>
            <a:pPr lvl="3"/>
            <a:r>
              <a:rPr lang="nl-NL" altLang="en-US" dirty="0" smtClean="0"/>
              <a:t>Vierde niveau, vierde niveau, vierde niveau, vierde niveau, vierde niveau,</a:t>
            </a:r>
          </a:p>
          <a:p>
            <a:pPr lvl="4"/>
            <a:r>
              <a:rPr lang="nl-NL" altLang="en-US" dirty="0" smtClean="0"/>
              <a:t>Vijfde niveau, vijfde niveau, vijfde niveau, vijfde niveau, vijfde niveau,</a:t>
            </a:r>
          </a:p>
        </p:txBody>
      </p:sp>
      <p:pic>
        <p:nvPicPr>
          <p:cNvPr id="4100" name="Picture 4" descr="FC logo klei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9400"/>
            <a:ext cx="1404937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179388" y="6237288"/>
            <a:ext cx="504825" cy="62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3600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250825" y="6021388"/>
            <a:ext cx="57626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>
            <a:lvl1pPr algn="l">
              <a:spcBef>
                <a:spcPct val="20000"/>
              </a:spcBef>
              <a:buClr>
                <a:schemeClr val="tx2"/>
              </a:buClr>
              <a:defRPr sz="1600">
                <a:solidFill>
                  <a:schemeClr val="tx2"/>
                </a:solidFill>
                <a:latin typeface="Verdana" pitchFamily="34" charset="0"/>
              </a:defRPr>
            </a:lvl1pPr>
            <a:lvl2pPr marL="209550" indent="-207963" algn="l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rgbClr val="3F4043"/>
                </a:solidFill>
                <a:latin typeface="Verdana" pitchFamily="34" charset="0"/>
              </a:defRPr>
            </a:lvl2pPr>
            <a:lvl3pPr marL="425450" indent="-214313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600">
                <a:solidFill>
                  <a:srgbClr val="3F4043"/>
                </a:solidFill>
                <a:latin typeface="Verdana" pitchFamily="34" charset="0"/>
              </a:defRPr>
            </a:lvl3pPr>
            <a:lvl4pPr marL="617538" indent="-190500" algn="l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rgbClr val="3F4043"/>
                </a:solidFill>
                <a:latin typeface="Verdana" pitchFamily="34" charset="0"/>
              </a:defRPr>
            </a:lvl4pPr>
            <a:lvl5pPr marL="806450" indent="-187325" algn="l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5pPr>
            <a:lvl6pPr marL="12636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6pPr>
            <a:lvl7pPr marL="17208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7pPr>
            <a:lvl8pPr marL="21780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8pPr>
            <a:lvl9pPr marL="2635250" indent="-187325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rgbClr val="3F4043"/>
                </a:solidFill>
                <a:latin typeface="Verdana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0094D9"/>
              </a:buClr>
            </a:pPr>
            <a:endParaRPr lang="en-GB" altLang="en-US" dirty="0">
              <a:solidFill>
                <a:srgbClr val="0094D9"/>
              </a:solidFill>
              <a:cs typeface="Arial" charset="0"/>
            </a:endParaRPr>
          </a:p>
        </p:txBody>
      </p:sp>
      <p:sp>
        <p:nvSpPr>
          <p:cNvPr id="10" name="Slide Number Placeholder 2"/>
          <p:cNvSpPr txBox="1">
            <a:spLocks noGrp="1"/>
          </p:cNvSpPr>
          <p:nvPr userDrawn="1">
            <p:custDataLst>
              <p:tags r:id="rId7"/>
            </p:custDataLst>
          </p:nvPr>
        </p:nvSpPr>
        <p:spPr bwMode="auto">
          <a:xfrm>
            <a:off x="8686800" y="6577012"/>
            <a:ext cx="441574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B05BC6E-3D80-4276-9864-E007A676530B}" type="slidenum">
              <a:rPr lang="en-US" sz="900">
                <a:solidFill>
                  <a:srgbClr val="6E6F72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6E6F72"/>
              </a:solidFill>
              <a:latin typeface="Verdana" pitchFamily="34" charset="0"/>
            </a:endParaRPr>
          </a:p>
        </p:txBody>
      </p:sp>
      <p:sp>
        <p:nvSpPr>
          <p:cNvPr id="2" name="RFC_Text_Format" hidden="1"/>
          <p:cNvSpPr txBox="1"/>
          <p:nvPr userDrawn="1"/>
        </p:nvSpPr>
        <p:spPr>
          <a:xfrm>
            <a:off x="1270000" y="1270000"/>
            <a:ext cx="1270000" cy="127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</a:pPr>
            <a:r>
              <a:rPr lang="en-US" sz="1400" dirty="0" smtClean="0">
                <a:solidFill>
                  <a:srgbClr val="0094D9"/>
                </a:solidFill>
                <a:cs typeface="Arial" charset="0"/>
              </a:rPr>
              <a:t>line 1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2</a:t>
            </a:r>
          </a:p>
          <a:p>
            <a:pPr marL="381000" lvl="2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3</a:t>
            </a:r>
          </a:p>
          <a:p>
            <a:pPr marL="571500" lvl="3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4</a:t>
            </a:r>
          </a:p>
          <a:p>
            <a:pPr marL="762000" lvl="4" indent="-19050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5</a:t>
            </a:r>
          </a:p>
          <a:p>
            <a:pPr marL="952500" lvl="5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6</a:t>
            </a:r>
          </a:p>
          <a:p>
            <a:pPr marL="1143000" lvl="6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7</a:t>
            </a:r>
          </a:p>
          <a:p>
            <a:pPr marL="1333500" lvl="7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8</a:t>
            </a:r>
          </a:p>
          <a:p>
            <a:pPr marL="1524000" lvl="8" indent="-190500">
              <a:buClr>
                <a:srgbClr val="0094D9"/>
              </a:buClr>
              <a:buFontTx/>
              <a:buChar char="•"/>
            </a:pPr>
            <a:r>
              <a:rPr lang="en-US" sz="1400" dirty="0" smtClean="0">
                <a:solidFill>
                  <a:srgbClr val="5D5E61"/>
                </a:solidFill>
                <a:cs typeface="Arial" charset="0"/>
              </a:rPr>
              <a:t>line 9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rgbClr val="0094D9"/>
              </a:buClr>
              <a:buFontTx/>
              <a:buChar char="•"/>
            </a:pPr>
            <a:endParaRPr lang="en-US" sz="1400" dirty="0">
              <a:solidFill>
                <a:srgbClr val="5D5E6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88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11413" y="508000"/>
            <a:ext cx="6481762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82750"/>
            <a:ext cx="8135938" cy="484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om de opmaakprofielen van de modeltekst te bewerken</a:t>
            </a:r>
          </a:p>
          <a:p>
            <a:pPr lvl="1"/>
            <a:r>
              <a:rPr lang="nl-NL" dirty="0" smtClean="0"/>
              <a:t>Tweede niveau, tweede niveau, tweede niveau, tweede niveau</a:t>
            </a:r>
          </a:p>
          <a:p>
            <a:pPr lvl="2"/>
            <a:r>
              <a:rPr lang="nl-NL" dirty="0" smtClean="0"/>
              <a:t>Derde niveau, derde niveau, derde niveau, derde niveau, derde</a:t>
            </a:r>
          </a:p>
          <a:p>
            <a:pPr lvl="3"/>
            <a:r>
              <a:rPr lang="nl-NL" dirty="0" smtClean="0"/>
              <a:t>Vierde niveau, vierde niveau, vierde niveau, vierde niveau, vierde niveau,</a:t>
            </a:r>
          </a:p>
          <a:p>
            <a:pPr marL="806450" marR="0" lvl="4" indent="-187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Char char="-"/>
              <a:tabLst/>
              <a:defRPr/>
            </a:pPr>
            <a:r>
              <a:rPr lang="nl-NL" dirty="0" smtClean="0"/>
              <a:t>Vijfde niveau, vijfde niveau, vijfde niveau, vijfde niveau, vijfde niveau,</a:t>
            </a:r>
            <a:endParaRPr lang="nl-NL" sz="1100" dirty="0" smtClean="0">
              <a:effectLst/>
              <a:latin typeface="Calibri"/>
              <a:ea typeface="Calibri"/>
              <a:cs typeface="Times New Roman"/>
            </a:endParaRPr>
          </a:p>
          <a:p>
            <a:pPr lvl="4"/>
            <a:endParaRPr lang="nl-NL" dirty="0" smtClean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280800"/>
            <a:ext cx="1415958" cy="59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04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6" r:id="rId10"/>
  </p:sldLayoutIdLst>
  <p:timing>
    <p:tnLst>
      <p:par>
        <p:cTn id="1" dur="indefinite" restart="never" nodeType="tmRoot"/>
      </p:par>
    </p:tnLst>
  </p:timing>
  <p:txStyles>
    <p:titleStyle>
      <a:lvl1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209550" indent="-2079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rgbClr val="3F4043"/>
          </a:solidFill>
          <a:latin typeface="+mn-lt"/>
        </a:defRPr>
      </a:lvl2pPr>
      <a:lvl3pPr marL="425450" indent="-2143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 sz="2000">
          <a:solidFill>
            <a:srgbClr val="3F4043"/>
          </a:solidFill>
          <a:latin typeface="+mn-lt"/>
        </a:defRPr>
      </a:lvl3pPr>
      <a:lvl4pPr marL="617538" indent="-1905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3F4043"/>
          </a:solidFill>
          <a:latin typeface="+mn-lt"/>
        </a:defRPr>
      </a:lvl4pPr>
      <a:lvl5pPr marL="806450" marR="0" indent="-187325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Tx/>
        <a:buFont typeface="Symbol" pitchFamily="18" charset="2"/>
        <a:buChar char="-"/>
        <a:tabLst/>
        <a:defRPr sz="1800">
          <a:solidFill>
            <a:srgbClr val="3F4043"/>
          </a:solidFill>
          <a:latin typeface="+mn-lt"/>
        </a:defRPr>
      </a:lvl5pPr>
      <a:lvl6pPr marL="12636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6pPr>
      <a:lvl7pPr marL="17208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7pPr>
      <a:lvl8pPr marL="21780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8pPr>
      <a:lvl9pPr marL="2635250" indent="-1873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-"/>
        <a:defRPr>
          <a:solidFill>
            <a:srgbClr val="3F4043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6" name="Picture 22" descr="G:\Corporate Communication\Logo's\FrieslandCampina\Nourishing by Nature tagline\Nbn_tag_with_FC_final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00" y="248400"/>
            <a:ext cx="1440000" cy="763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905065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473673" y="504000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755649" y="1460500"/>
            <a:ext cx="8137525" cy="48895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First bullet level</a:t>
            </a:r>
          </a:p>
          <a:p>
            <a:pPr lvl="2"/>
            <a:r>
              <a:rPr lang="en-GB" dirty="0" smtClean="0"/>
              <a:t>Second bullet level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172399" y="6356351"/>
            <a:ext cx="7207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fld id="{0C3E0553-2C6C-497F-867A-65E4A976FAE9}" type="slidenum">
              <a:rPr lang="en-GB" smtClean="0">
                <a:solidFill>
                  <a:srgbClr val="3F4043"/>
                </a:solidFill>
              </a:rPr>
              <a:pPr/>
              <a:t>‹#›</a:t>
            </a:fld>
            <a:endParaRPr lang="en-GB" dirty="0">
              <a:solidFill>
                <a:srgbClr val="3F4043"/>
              </a:solidFill>
            </a:endParaRPr>
          </a:p>
        </p:txBody>
      </p:sp>
      <p:sp>
        <p:nvSpPr>
          <p:cNvPr id="7" name="No_Go_Area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671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r" defTabSz="914400" rtl="0" eaLnBrk="1" latinLnBrk="0" hangingPunct="1">
        <a:spcBef>
          <a:spcPct val="0"/>
        </a:spcBef>
        <a:buNone/>
        <a:defRPr sz="2600" kern="120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Arial" panose="020B0604020202020204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1pPr>
      <a:lvl2pPr marL="541338" indent="-274638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2pPr>
      <a:lvl3pPr marL="808038" indent="-2857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3pPr>
      <a:lvl4pPr marL="985838" indent="-265113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Verdana" pitchFamily="34" charset="0"/>
        <a:buChar char="●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4pPr>
      <a:lvl5pPr marL="1341438" indent="-265113" algn="l" defTabSz="914400" rtl="0" eaLnBrk="1" latinLnBrk="0" hangingPunct="1">
        <a:spcBef>
          <a:spcPts val="300"/>
        </a:spcBef>
        <a:buClr>
          <a:schemeClr val="tx2"/>
        </a:buClr>
        <a:buFont typeface="Verdana" pitchFamily="34" charset="0"/>
        <a:buChar char="›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509740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761999" y="1460500"/>
            <a:ext cx="8131175" cy="488950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First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  <a:p>
            <a:pPr lvl="2"/>
            <a:r>
              <a:rPr lang="nl-NL" dirty="0" smtClean="0"/>
              <a:t>Second </a:t>
            </a:r>
            <a:r>
              <a:rPr lang="nl-NL" dirty="0" err="1" smtClean="0"/>
              <a:t>bullet</a:t>
            </a:r>
            <a:r>
              <a:rPr lang="nl-NL" dirty="0" smtClean="0"/>
              <a:t> level</a:t>
            </a:r>
          </a:p>
        </p:txBody>
      </p:sp>
      <p:sp>
        <p:nvSpPr>
          <p:cNvPr id="7" name="No_Go_Area" hidden="1"/>
          <p:cNvSpPr/>
          <p:nvPr>
            <p:custDataLst>
              <p:tags r:id="rId20"/>
            </p:custDataLst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762000" y="1460500"/>
                </a:moveTo>
                <a:lnTo>
                  <a:pt x="762000" y="6350000"/>
                </a:lnTo>
                <a:lnTo>
                  <a:pt x="8890000" y="6350000"/>
                </a:lnTo>
                <a:lnTo>
                  <a:pt x="8890000" y="1460500"/>
                </a:lnTo>
                <a:close/>
                <a:moveTo>
                  <a:pt x="2473673" y="364555"/>
                </a:moveTo>
                <a:lnTo>
                  <a:pt x="2473673" y="885126"/>
                </a:lnTo>
                <a:lnTo>
                  <a:pt x="8893175" y="885126"/>
                </a:lnTo>
                <a:lnTo>
                  <a:pt x="8893175" y="36455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2" descr="G:\depsharesHQ\Corporate Communication\Logo's\logo FrieslandCampina\tagline\Nbn_tag_with_FC_final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41598"/>
            <a:ext cx="1456210" cy="77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vak 7"/>
          <p:cNvSpPr txBox="1"/>
          <p:nvPr/>
        </p:nvSpPr>
        <p:spPr>
          <a:xfrm>
            <a:off x="8500541" y="6495148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CD28338-98CD-4136-BA81-8E55F50C4922}" type="slidenum">
              <a:rPr lang="nl-NL" sz="1000" smtClean="0">
                <a:solidFill>
                  <a:srgbClr val="3F4043"/>
                </a:solidFill>
              </a:rPr>
              <a:pPr algn="r"/>
              <a:t>‹#›</a:t>
            </a:fld>
            <a:endParaRPr lang="nl-NL" sz="1000" dirty="0" smtClean="0">
              <a:solidFill>
                <a:srgbClr val="3F4043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481830" y="872427"/>
            <a:ext cx="1440160" cy="1800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4" name="Tijdelijke aanduiding voor titel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2473672" y="363439"/>
            <a:ext cx="6419502" cy="5205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05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2" r:id="rId5"/>
    <p:sldLayoutId id="2147483923" r:id="rId6"/>
    <p:sldLayoutId id="2147483924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4082" r:id="rId15"/>
  </p:sldLayoutIdLst>
  <p:timing>
    <p:tnLst>
      <p:par>
        <p:cTn id="1" dur="indefinite" restart="never" nodeType="tmRoot"/>
      </p:par>
    </p:tnLst>
  </p:timing>
  <p:hf hdr="0" ftr="0"/>
  <p:txStyles>
    <p:titleStyle>
      <a:lvl1pPr algn="r" defTabSz="914400" rtl="0" eaLnBrk="1" latinLnBrk="0" hangingPunct="1">
        <a:spcBef>
          <a:spcPct val="0"/>
        </a:spcBef>
        <a:buNone/>
        <a:defRPr sz="2600" kern="120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2000" kern="1200">
          <a:solidFill>
            <a:schemeClr val="accent1"/>
          </a:solidFill>
          <a:latin typeface="Verdana" pitchFamily="34" charset="0"/>
          <a:ea typeface="+mn-ea"/>
          <a:cs typeface="+mn-cs"/>
        </a:defRPr>
      </a:lvl1pPr>
      <a:lvl2pPr marL="273050" indent="-2730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2pPr>
      <a:lvl3pPr marL="641350" indent="-285750" algn="l" defTabSz="914400" rtl="0" eaLnBrk="1" latinLnBrk="0" hangingPunct="1">
        <a:spcBef>
          <a:spcPts val="300"/>
        </a:spcBef>
        <a:buClr>
          <a:schemeClr val="accent1"/>
        </a:buClr>
        <a:buSzPct val="90000"/>
        <a:buFont typeface="Verdana" pitchFamily="34" charset="0"/>
        <a:buChar char="●"/>
        <a:defRPr sz="2000" kern="1200">
          <a:solidFill>
            <a:schemeClr val="tx2"/>
          </a:solidFill>
          <a:latin typeface="Verdana" pitchFamily="34" charset="0"/>
          <a:ea typeface="+mn-ea"/>
          <a:cs typeface="+mn-cs"/>
        </a:defRPr>
      </a:lvl3pPr>
      <a:lvl4pPr marL="985838" indent="-265113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Verdana" pitchFamily="34" charset="0"/>
        <a:buChar char="●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4pPr>
      <a:lvl5pPr marL="1341438" indent="-265113" algn="l" defTabSz="914400" rtl="0" eaLnBrk="1" latinLnBrk="0" hangingPunct="1">
        <a:spcBef>
          <a:spcPts val="300"/>
        </a:spcBef>
        <a:buClr>
          <a:schemeClr val="tx2"/>
        </a:buClr>
        <a:buFont typeface="Verdana" pitchFamily="34" charset="0"/>
        <a:buChar char="›"/>
        <a:defRPr sz="1600" kern="1200">
          <a:solidFill>
            <a:schemeClr val="tx2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755576" y="1556792"/>
            <a:ext cx="7947670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de stijl te bewerken</a:t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55576" y="2420889"/>
            <a:ext cx="7931224" cy="34563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211750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sldNum="0"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sz="2400" b="1" kern="1200" baseline="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lnSpc>
          <a:spcPts val="2200"/>
        </a:lnSpc>
        <a:spcBef>
          <a:spcPct val="20000"/>
        </a:spcBef>
        <a:buClr>
          <a:srgbClr val="64B13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755576" y="1556792"/>
            <a:ext cx="7947670" cy="792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de stijl te bewerken</a:t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55576" y="2420889"/>
            <a:ext cx="7931224" cy="34563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86034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sz="2400" b="1" kern="1200" baseline="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lnSpc>
          <a:spcPts val="2200"/>
        </a:lnSpc>
        <a:spcBef>
          <a:spcPct val="20000"/>
        </a:spcBef>
        <a:buClr>
          <a:srgbClr val="64B13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lnSpc>
          <a:spcPts val="2200"/>
        </a:lnSpc>
        <a:spcBef>
          <a:spcPct val="20000"/>
        </a:spcBef>
        <a:buClr>
          <a:srgbClr val="53A820"/>
        </a:buClr>
        <a:buFont typeface="Wingdings" pitchFamily="2" charset="2"/>
        <a:buChar char="§"/>
        <a:defRPr sz="1800" kern="1200">
          <a:solidFill>
            <a:srgbClr val="22326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53.xml"/><Relationship Id="rId7" Type="http://schemas.openxmlformats.org/officeDocument/2006/relationships/image" Target="../media/image26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188.xml"/><Relationship Id="rId11" Type="http://schemas.openxmlformats.org/officeDocument/2006/relationships/image" Target="../media/image30.jpeg"/><Relationship Id="rId5" Type="http://schemas.openxmlformats.org/officeDocument/2006/relationships/tags" Target="../tags/tag55.xml"/><Relationship Id="rId10" Type="http://schemas.openxmlformats.org/officeDocument/2006/relationships/image" Target="../media/image29.jpeg"/><Relationship Id="rId4" Type="http://schemas.openxmlformats.org/officeDocument/2006/relationships/tags" Target="../tags/tag54.xml"/><Relationship Id="rId9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jpeg"/><Relationship Id="rId7" Type="http://schemas.openxmlformats.org/officeDocument/2006/relationships/image" Target="../media/image37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8.xml"/><Relationship Id="rId6" Type="http://schemas.openxmlformats.org/officeDocument/2006/relationships/image" Target="../media/image36.png"/><Relationship Id="rId5" Type="http://schemas.microsoft.com/office/2007/relationships/hdphoto" Target="../media/hdphoto1.wdp"/><Relationship Id="rId10" Type="http://schemas.openxmlformats.org/officeDocument/2006/relationships/image" Target="../media/image40.jpeg"/><Relationship Id="rId4" Type="http://schemas.openxmlformats.org/officeDocument/2006/relationships/image" Target="../media/image35.png"/><Relationship Id="rId9" Type="http://schemas.openxmlformats.org/officeDocument/2006/relationships/image" Target="../media/image3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9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45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3.xml"/><Relationship Id="rId6" Type="http://schemas.openxmlformats.org/officeDocument/2006/relationships/image" Target="../media/image48.png"/><Relationship Id="rId11" Type="http://schemas.microsoft.com/office/2007/relationships/diagramDrawing" Target="../diagrams/drawing1.xml"/><Relationship Id="rId5" Type="http://schemas.openxmlformats.org/officeDocument/2006/relationships/image" Target="../media/image47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46.png"/><Relationship Id="rId9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6.jpeg"/><Relationship Id="rId3" Type="http://schemas.openxmlformats.org/officeDocument/2006/relationships/image" Target="../media/image24.png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59.jpeg"/><Relationship Id="rId1" Type="http://schemas.openxmlformats.org/officeDocument/2006/relationships/tags" Target="../tags/tag56.xml"/><Relationship Id="rId6" Type="http://schemas.openxmlformats.org/officeDocument/2006/relationships/image" Target="../media/image50.jpeg"/><Relationship Id="rId11" Type="http://schemas.openxmlformats.org/officeDocument/2006/relationships/hyperlink" Target="MCP%20FDOV%20-%20PANGALENGAN%20(%20preview%20mobile%20).mp4" TargetMode="External"/><Relationship Id="rId5" Type="http://schemas.openxmlformats.org/officeDocument/2006/relationships/hyperlink" Target="03.%20170621%20FDOV+project+Indonesia+MCP+Pangalengan.mp4" TargetMode="External"/><Relationship Id="rId15" Type="http://schemas.openxmlformats.org/officeDocument/2006/relationships/image" Target="../media/image58.jpeg"/><Relationship Id="rId10" Type="http://schemas.openxmlformats.org/officeDocument/2006/relationships/image" Target="../media/image54.jpeg"/><Relationship Id="rId4" Type="http://schemas.openxmlformats.org/officeDocument/2006/relationships/image" Target="../media/image49.png"/><Relationship Id="rId9" Type="http://schemas.openxmlformats.org/officeDocument/2006/relationships/image" Target="../media/image53.jpeg"/><Relationship Id="rId14" Type="http://schemas.openxmlformats.org/officeDocument/2006/relationships/image" Target="../media/image5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39.xml"/><Relationship Id="rId1" Type="http://schemas.openxmlformats.org/officeDocument/2006/relationships/tags" Target="../tags/tag57.xml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90600" y="5029200"/>
            <a:ext cx="7921575" cy="672075"/>
          </a:xfrm>
        </p:spPr>
        <p:txBody>
          <a:bodyPr/>
          <a:lstStyle/>
          <a:p>
            <a:r>
              <a:rPr lang="en-GB" sz="2800" dirty="0" smtClean="0"/>
              <a:t>Fresh Milk Supply Chain</a:t>
            </a:r>
            <a:endParaRPr lang="en-GB" sz="2800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 anchor="b">
            <a:normAutofit/>
          </a:bodyPr>
          <a:lstStyle/>
          <a:p>
            <a:r>
              <a:rPr lang="en-US" dirty="0" smtClean="0"/>
              <a:t>Efi Lutfillah – Frisian Flag Indonesia</a:t>
            </a:r>
            <a:endParaRPr lang="en-US" dirty="0" smtClean="0"/>
          </a:p>
        </p:txBody>
      </p:sp>
      <p:pic>
        <p:nvPicPr>
          <p:cNvPr id="5" name="Picture 29" descr="Logo Pulse simplifi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4366" y="228600"/>
            <a:ext cx="1871034" cy="1822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6" name="Picture 2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64" b="10864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245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6" name="AutoShape 4"/>
          <p:cNvSpPr>
            <a:spLocks noChangeArrowheads="1"/>
          </p:cNvSpPr>
          <p:nvPr/>
        </p:nvSpPr>
        <p:spPr bwMode="auto">
          <a:xfrm rot="-2975866">
            <a:off x="1234724" y="12935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7" name="AutoShape 5"/>
          <p:cNvSpPr>
            <a:spLocks noChangeArrowheads="1"/>
          </p:cNvSpPr>
          <p:nvPr/>
        </p:nvSpPr>
        <p:spPr bwMode="auto">
          <a:xfrm rot="-2975866">
            <a:off x="2072924" y="20555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8" name="AutoShape 6"/>
          <p:cNvSpPr>
            <a:spLocks noChangeArrowheads="1"/>
          </p:cNvSpPr>
          <p:nvPr/>
        </p:nvSpPr>
        <p:spPr bwMode="auto">
          <a:xfrm rot="-2975866">
            <a:off x="2911124" y="28175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9" name="AutoShape 7"/>
          <p:cNvSpPr>
            <a:spLocks noChangeArrowheads="1"/>
          </p:cNvSpPr>
          <p:nvPr/>
        </p:nvSpPr>
        <p:spPr bwMode="auto">
          <a:xfrm rot="-2975866">
            <a:off x="3825524" y="36557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0" name="AutoShape 8"/>
          <p:cNvSpPr>
            <a:spLocks noChangeArrowheads="1"/>
          </p:cNvSpPr>
          <p:nvPr/>
        </p:nvSpPr>
        <p:spPr bwMode="auto">
          <a:xfrm rot="-2975866">
            <a:off x="6088505" y="5731419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1" name="AutoShape 9"/>
          <p:cNvSpPr>
            <a:spLocks noChangeArrowheads="1"/>
          </p:cNvSpPr>
          <p:nvPr/>
        </p:nvSpPr>
        <p:spPr bwMode="auto">
          <a:xfrm rot="-2975866">
            <a:off x="4663724" y="44939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2" name="AutoShape 10"/>
          <p:cNvSpPr>
            <a:spLocks noChangeArrowheads="1"/>
          </p:cNvSpPr>
          <p:nvPr/>
        </p:nvSpPr>
        <p:spPr bwMode="auto">
          <a:xfrm rot="-2975866">
            <a:off x="5501924" y="52559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3" name="AutoShape 11"/>
          <p:cNvSpPr>
            <a:spLocks noChangeArrowheads="1"/>
          </p:cNvSpPr>
          <p:nvPr/>
        </p:nvSpPr>
        <p:spPr bwMode="auto">
          <a:xfrm rot="-2975866">
            <a:off x="6416324" y="6170363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4" name="AutoShape 12"/>
          <p:cNvSpPr>
            <a:spLocks noChangeArrowheads="1"/>
          </p:cNvSpPr>
          <p:nvPr/>
        </p:nvSpPr>
        <p:spPr bwMode="auto">
          <a:xfrm rot="-2975866">
            <a:off x="1745106" y="1621381"/>
            <a:ext cx="233362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5" name="AutoShape 13"/>
          <p:cNvSpPr>
            <a:spLocks noChangeArrowheads="1"/>
          </p:cNvSpPr>
          <p:nvPr/>
        </p:nvSpPr>
        <p:spPr bwMode="auto">
          <a:xfrm rot="-2975866">
            <a:off x="948181" y="935581"/>
            <a:ext cx="233362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7" name="AutoShape 15"/>
          <p:cNvSpPr>
            <a:spLocks noChangeArrowheads="1"/>
          </p:cNvSpPr>
          <p:nvPr/>
        </p:nvSpPr>
        <p:spPr bwMode="auto">
          <a:xfrm rot="-2975866">
            <a:off x="2624580" y="2454819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8" name="AutoShape 16"/>
          <p:cNvSpPr>
            <a:spLocks noChangeArrowheads="1"/>
          </p:cNvSpPr>
          <p:nvPr/>
        </p:nvSpPr>
        <p:spPr bwMode="auto">
          <a:xfrm rot="-2975866">
            <a:off x="3462780" y="3216819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9" name="AutoShape 17"/>
          <p:cNvSpPr>
            <a:spLocks noChangeArrowheads="1"/>
          </p:cNvSpPr>
          <p:nvPr/>
        </p:nvSpPr>
        <p:spPr bwMode="auto">
          <a:xfrm rot="-2975866">
            <a:off x="4335905" y="4055019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30" name="AutoShape 18"/>
          <p:cNvSpPr>
            <a:spLocks noChangeArrowheads="1"/>
          </p:cNvSpPr>
          <p:nvPr/>
        </p:nvSpPr>
        <p:spPr bwMode="auto">
          <a:xfrm rot="-2975866">
            <a:off x="5215380" y="4893219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31" name="Text Box 19"/>
          <p:cNvSpPr txBox="1">
            <a:spLocks noChangeArrowheads="1"/>
          </p:cNvSpPr>
          <p:nvPr/>
        </p:nvSpPr>
        <p:spPr bwMode="auto">
          <a:xfrm>
            <a:off x="1142649" y="963363"/>
            <a:ext cx="171874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002060"/>
                </a:solidFill>
              </a:rPr>
              <a:t>stable design</a:t>
            </a:r>
          </a:p>
        </p:txBody>
      </p:sp>
      <p:sp>
        <p:nvSpPr>
          <p:cNvPr id="90132" name="Text Box 20"/>
          <p:cNvSpPr txBox="1">
            <a:spLocks noChangeArrowheads="1"/>
          </p:cNvSpPr>
          <p:nvPr/>
        </p:nvSpPr>
        <p:spPr bwMode="auto">
          <a:xfrm>
            <a:off x="1828449" y="1307850"/>
            <a:ext cx="110959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FFC000"/>
                </a:solidFill>
              </a:rPr>
              <a:t>bedding</a:t>
            </a:r>
          </a:p>
        </p:txBody>
      </p:sp>
      <p:sp>
        <p:nvSpPr>
          <p:cNvPr id="90133" name="Text Box 21"/>
          <p:cNvSpPr txBox="1">
            <a:spLocks noChangeArrowheads="1"/>
          </p:cNvSpPr>
          <p:nvPr/>
        </p:nvSpPr>
        <p:spPr bwMode="auto">
          <a:xfrm>
            <a:off x="2057049" y="1711075"/>
            <a:ext cx="30716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00B050"/>
                </a:solidFill>
              </a:rPr>
              <a:t>cleaning / brushing cows</a:t>
            </a:r>
          </a:p>
        </p:txBody>
      </p:sp>
      <p:sp>
        <p:nvSpPr>
          <p:cNvPr id="90134" name="Text Box 22"/>
          <p:cNvSpPr txBox="1">
            <a:spLocks noChangeArrowheads="1"/>
          </p:cNvSpPr>
          <p:nvPr/>
        </p:nvSpPr>
        <p:spPr bwMode="auto">
          <a:xfrm>
            <a:off x="2590449" y="2092075"/>
            <a:ext cx="36199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chemeClr val="accent5"/>
                </a:solidFill>
              </a:rPr>
              <a:t>milking tools (plastic / metal)</a:t>
            </a:r>
          </a:p>
        </p:txBody>
      </p:sp>
      <p:sp>
        <p:nvSpPr>
          <p:cNvPr id="90135" name="Text Box 23"/>
          <p:cNvSpPr txBox="1">
            <a:spLocks noChangeArrowheads="1"/>
          </p:cNvSpPr>
          <p:nvPr/>
        </p:nvSpPr>
        <p:spPr bwMode="auto">
          <a:xfrm>
            <a:off x="3568349" y="2930275"/>
            <a:ext cx="2244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7030A0"/>
                </a:solidFill>
              </a:rPr>
              <a:t>personal hygiene </a:t>
            </a:r>
          </a:p>
        </p:txBody>
      </p:sp>
      <p:sp>
        <p:nvSpPr>
          <p:cNvPr id="90138" name="Text Box 26"/>
          <p:cNvSpPr txBox="1">
            <a:spLocks noChangeArrowheads="1"/>
          </p:cNvSpPr>
          <p:nvPr/>
        </p:nvSpPr>
        <p:spPr bwMode="auto">
          <a:xfrm>
            <a:off x="6553200" y="5791200"/>
            <a:ext cx="9080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FFCC00"/>
                </a:solidFill>
              </a:rPr>
              <a:t>cooling</a:t>
            </a:r>
          </a:p>
        </p:txBody>
      </p:sp>
      <p:sp>
        <p:nvSpPr>
          <p:cNvPr id="90139" name="Text Box 27"/>
          <p:cNvSpPr txBox="1">
            <a:spLocks noChangeArrowheads="1"/>
          </p:cNvSpPr>
          <p:nvPr/>
        </p:nvSpPr>
        <p:spPr bwMode="auto">
          <a:xfrm>
            <a:off x="6166512" y="5348288"/>
            <a:ext cx="332815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FF6600"/>
                </a:solidFill>
              </a:rPr>
              <a:t>time lag milking </a:t>
            </a:r>
            <a:r>
              <a:rPr lang="nl-NL" altLang="en-US" dirty="0" smtClean="0">
                <a:solidFill>
                  <a:srgbClr val="FF6600"/>
                </a:solidFill>
              </a:rPr>
              <a:t>/collection</a:t>
            </a:r>
            <a:endParaRPr lang="nl-NL" altLang="en-US" dirty="0">
              <a:solidFill>
                <a:srgbClr val="FF6600"/>
              </a:solidFill>
            </a:endParaRPr>
          </a:p>
        </p:txBody>
      </p:sp>
      <p:sp>
        <p:nvSpPr>
          <p:cNvPr id="90141" name="Text Box 29"/>
          <p:cNvSpPr txBox="1">
            <a:spLocks noChangeArrowheads="1"/>
          </p:cNvSpPr>
          <p:nvPr/>
        </p:nvSpPr>
        <p:spPr bwMode="auto">
          <a:xfrm>
            <a:off x="6095649" y="5368675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 altLang="en-US"/>
          </a:p>
        </p:txBody>
      </p:sp>
      <p:sp>
        <p:nvSpPr>
          <p:cNvPr id="90142" name="Text Box 30"/>
          <p:cNvSpPr txBox="1">
            <a:spLocks noChangeArrowheads="1"/>
          </p:cNvSpPr>
          <p:nvPr/>
        </p:nvSpPr>
        <p:spPr bwMode="auto">
          <a:xfrm>
            <a:off x="6095649" y="5444875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 altLang="en-US"/>
          </a:p>
        </p:txBody>
      </p:sp>
      <p:sp>
        <p:nvSpPr>
          <p:cNvPr id="90143" name="Text Box 31"/>
          <p:cNvSpPr txBox="1">
            <a:spLocks noChangeArrowheads="1"/>
          </p:cNvSpPr>
          <p:nvPr/>
        </p:nvSpPr>
        <p:spPr bwMode="auto">
          <a:xfrm>
            <a:off x="4800600" y="4160838"/>
            <a:ext cx="21653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FFCC00"/>
                </a:solidFill>
              </a:rPr>
              <a:t>milk cans (material)</a:t>
            </a:r>
          </a:p>
        </p:txBody>
      </p:sp>
      <p:sp>
        <p:nvSpPr>
          <p:cNvPr id="90144" name="Text Box 32"/>
          <p:cNvSpPr txBox="1">
            <a:spLocks noChangeArrowheads="1"/>
          </p:cNvSpPr>
          <p:nvPr/>
        </p:nvSpPr>
        <p:spPr bwMode="auto">
          <a:xfrm>
            <a:off x="7038170" y="6404797"/>
            <a:ext cx="16805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>
                <a:solidFill>
                  <a:srgbClr val="C00000"/>
                </a:solidFill>
              </a:rPr>
              <a:t>eval. results </a:t>
            </a:r>
          </a:p>
        </p:txBody>
      </p:sp>
      <p:sp>
        <p:nvSpPr>
          <p:cNvPr id="90148" name="AutoShape 36"/>
          <p:cNvSpPr>
            <a:spLocks noChangeArrowheads="1"/>
          </p:cNvSpPr>
          <p:nvPr/>
        </p:nvSpPr>
        <p:spPr bwMode="auto">
          <a:xfrm rot="-147242">
            <a:off x="111120" y="4350632"/>
            <a:ext cx="2686371" cy="1688629"/>
          </a:xfrm>
          <a:prstGeom prst="wedgeEllipseCallout">
            <a:avLst>
              <a:gd name="adj1" fmla="val 87088"/>
              <a:gd name="adj2" fmla="val -52759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endParaRPr lang="en-US" altLang="en-US"/>
          </a:p>
        </p:txBody>
      </p:sp>
      <p:sp>
        <p:nvSpPr>
          <p:cNvPr id="90149" name="Text Box 37"/>
          <p:cNvSpPr txBox="1">
            <a:spLocks noChangeArrowheads="1"/>
          </p:cNvSpPr>
          <p:nvPr/>
        </p:nvSpPr>
        <p:spPr bwMode="auto">
          <a:xfrm>
            <a:off x="533400" y="4527550"/>
            <a:ext cx="2225289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sz="2400" b="1" dirty="0">
                <a:solidFill>
                  <a:srgbClr val="FFC000"/>
                </a:solidFill>
              </a:rPr>
              <a:t>On farm</a:t>
            </a:r>
          </a:p>
          <a:p>
            <a:r>
              <a:rPr lang="nl-NL" altLang="en-US" sz="2400" b="1" dirty="0">
                <a:solidFill>
                  <a:srgbClr val="FFC000"/>
                </a:solidFill>
              </a:rPr>
              <a:t>milk quality</a:t>
            </a:r>
          </a:p>
          <a:p>
            <a:r>
              <a:rPr lang="nl-NL" altLang="en-US" sz="2400" b="1" dirty="0">
                <a:solidFill>
                  <a:srgbClr val="FFC000"/>
                </a:solidFill>
              </a:rPr>
              <a:t>    chain</a:t>
            </a:r>
          </a:p>
        </p:txBody>
      </p:sp>
      <p:sp>
        <p:nvSpPr>
          <p:cNvPr id="90150" name="Text Box 38"/>
          <p:cNvSpPr txBox="1">
            <a:spLocks noChangeArrowheads="1"/>
          </p:cNvSpPr>
          <p:nvPr/>
        </p:nvSpPr>
        <p:spPr bwMode="auto">
          <a:xfrm>
            <a:off x="3771549" y="3325563"/>
            <a:ext cx="1708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/>
              <a:t>clean dry towel</a:t>
            </a:r>
          </a:p>
        </p:txBody>
      </p:sp>
      <p:sp>
        <p:nvSpPr>
          <p:cNvPr id="90151" name="Text Box 39"/>
          <p:cNvSpPr txBox="1">
            <a:spLocks noChangeArrowheads="1"/>
          </p:cNvSpPr>
          <p:nvPr/>
        </p:nvSpPr>
        <p:spPr bwMode="auto">
          <a:xfrm>
            <a:off x="5282044" y="4558279"/>
            <a:ext cx="8953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/>
              <a:t>milking</a:t>
            </a:r>
          </a:p>
        </p:txBody>
      </p:sp>
      <p:sp>
        <p:nvSpPr>
          <p:cNvPr id="90152" name="Text Box 40"/>
          <p:cNvSpPr txBox="1">
            <a:spLocks noChangeArrowheads="1"/>
          </p:cNvSpPr>
          <p:nvPr/>
        </p:nvSpPr>
        <p:spPr bwMode="auto">
          <a:xfrm>
            <a:off x="4473224" y="3724377"/>
            <a:ext cx="3613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/>
              <a:t>udder preparation </a:t>
            </a:r>
            <a:r>
              <a:rPr lang="nl-NL" altLang="en-US" dirty="0" smtClean="0"/>
              <a:t>/ </a:t>
            </a:r>
            <a:r>
              <a:rPr lang="nl-NL" altLang="en-US" dirty="0"/>
              <a:t>mastitis check</a:t>
            </a:r>
          </a:p>
        </p:txBody>
      </p:sp>
      <p:sp>
        <p:nvSpPr>
          <p:cNvPr id="90154" name="Text Box 42"/>
          <p:cNvSpPr txBox="1">
            <a:spLocks noChangeArrowheads="1"/>
          </p:cNvSpPr>
          <p:nvPr/>
        </p:nvSpPr>
        <p:spPr bwMode="auto">
          <a:xfrm>
            <a:off x="2949224" y="2602468"/>
            <a:ext cx="44518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/>
              <a:t>handling and </a:t>
            </a:r>
            <a:r>
              <a:rPr lang="nl-NL" altLang="en-US" dirty="0" smtClean="0"/>
              <a:t>desinfection </a:t>
            </a:r>
            <a:r>
              <a:rPr lang="nl-NL" altLang="en-US" dirty="0"/>
              <a:t>milk. tools</a:t>
            </a: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0"/>
            <a:ext cx="3183870" cy="2129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 Box 39"/>
          <p:cNvSpPr txBox="1">
            <a:spLocks noChangeArrowheads="1"/>
          </p:cNvSpPr>
          <p:nvPr/>
        </p:nvSpPr>
        <p:spPr bwMode="auto">
          <a:xfrm>
            <a:off x="5647974" y="4944563"/>
            <a:ext cx="107593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nl-NL" altLang="en-US" dirty="0" smtClean="0">
                <a:solidFill>
                  <a:srgbClr val="00B050"/>
                </a:solidFill>
              </a:rPr>
              <a:t>filtering</a:t>
            </a:r>
            <a:endParaRPr lang="nl-NL" altLang="en-U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72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dissolve/>
      </p:transition>
    </mc:Choice>
    <mc:Fallback>
      <p:transition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8" name="AutoShape 4"/>
          <p:cNvSpPr>
            <a:spLocks noChangeArrowheads="1"/>
          </p:cNvSpPr>
          <p:nvPr/>
        </p:nvSpPr>
        <p:spPr bwMode="auto">
          <a:xfrm rot="-2975866">
            <a:off x="2289288" y="1221037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69" name="AutoShape 5"/>
          <p:cNvSpPr>
            <a:spLocks noChangeArrowheads="1"/>
          </p:cNvSpPr>
          <p:nvPr/>
        </p:nvSpPr>
        <p:spPr bwMode="auto">
          <a:xfrm rot="-2975866">
            <a:off x="3127488" y="1983037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2" name="AutoShape 8"/>
          <p:cNvSpPr>
            <a:spLocks noChangeArrowheads="1"/>
          </p:cNvSpPr>
          <p:nvPr/>
        </p:nvSpPr>
        <p:spPr bwMode="auto">
          <a:xfrm rot="-2975866">
            <a:off x="7143069" y="5658893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3" name="AutoShape 9"/>
          <p:cNvSpPr>
            <a:spLocks noChangeArrowheads="1"/>
          </p:cNvSpPr>
          <p:nvPr/>
        </p:nvSpPr>
        <p:spPr bwMode="auto">
          <a:xfrm rot="-2975866">
            <a:off x="5718288" y="4421437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4" name="AutoShape 10"/>
          <p:cNvSpPr>
            <a:spLocks noChangeArrowheads="1"/>
          </p:cNvSpPr>
          <p:nvPr/>
        </p:nvSpPr>
        <p:spPr bwMode="auto">
          <a:xfrm rot="-2975866">
            <a:off x="6556488" y="5183437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5" name="AutoShape 11"/>
          <p:cNvSpPr>
            <a:spLocks noChangeArrowheads="1"/>
          </p:cNvSpPr>
          <p:nvPr/>
        </p:nvSpPr>
        <p:spPr bwMode="auto">
          <a:xfrm rot="-2975866">
            <a:off x="7470888" y="6097837"/>
            <a:ext cx="533400" cy="838200"/>
          </a:xfrm>
          <a:custGeom>
            <a:avLst/>
            <a:gdLst>
              <a:gd name="G0" fmla="+- 1838 0 0"/>
              <a:gd name="G1" fmla="+- 21600 0 1838"/>
              <a:gd name="G2" fmla="+- 21600 0 1838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838" y="10800"/>
                </a:moveTo>
                <a:cubicBezTo>
                  <a:pt x="1838" y="15750"/>
                  <a:pt x="5850" y="19762"/>
                  <a:pt x="10800" y="19762"/>
                </a:cubicBezTo>
                <a:cubicBezTo>
                  <a:pt x="15750" y="19762"/>
                  <a:pt x="19762" y="15750"/>
                  <a:pt x="19762" y="10800"/>
                </a:cubicBezTo>
                <a:cubicBezTo>
                  <a:pt x="19762" y="5850"/>
                  <a:pt x="15750" y="1838"/>
                  <a:pt x="10800" y="1838"/>
                </a:cubicBezTo>
                <a:cubicBezTo>
                  <a:pt x="5850" y="1838"/>
                  <a:pt x="1838" y="5850"/>
                  <a:pt x="1838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6" name="AutoShape 12"/>
          <p:cNvSpPr>
            <a:spLocks noChangeArrowheads="1"/>
          </p:cNvSpPr>
          <p:nvPr/>
        </p:nvSpPr>
        <p:spPr bwMode="auto">
          <a:xfrm rot="-2975866">
            <a:off x="2799670" y="1548855"/>
            <a:ext cx="233362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7" name="AutoShape 13"/>
          <p:cNvSpPr>
            <a:spLocks noChangeArrowheads="1"/>
          </p:cNvSpPr>
          <p:nvPr/>
        </p:nvSpPr>
        <p:spPr bwMode="auto">
          <a:xfrm rot="-2975866">
            <a:off x="2002745" y="863055"/>
            <a:ext cx="233362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9" name="AutoShape 15"/>
          <p:cNvSpPr>
            <a:spLocks noChangeArrowheads="1"/>
          </p:cNvSpPr>
          <p:nvPr/>
        </p:nvSpPr>
        <p:spPr bwMode="auto">
          <a:xfrm rot="-2975866">
            <a:off x="3679144" y="2382293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81" name="AutoShape 17"/>
          <p:cNvSpPr>
            <a:spLocks noChangeArrowheads="1"/>
          </p:cNvSpPr>
          <p:nvPr/>
        </p:nvSpPr>
        <p:spPr bwMode="auto">
          <a:xfrm rot="-2975866">
            <a:off x="5390469" y="3982493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82" name="AutoShape 18"/>
          <p:cNvSpPr>
            <a:spLocks noChangeArrowheads="1"/>
          </p:cNvSpPr>
          <p:nvPr/>
        </p:nvSpPr>
        <p:spPr bwMode="auto">
          <a:xfrm rot="-2975866">
            <a:off x="6269944" y="4820693"/>
            <a:ext cx="233363" cy="796925"/>
          </a:xfrm>
          <a:custGeom>
            <a:avLst/>
            <a:gdLst>
              <a:gd name="G0" fmla="+- 4561 0 0"/>
              <a:gd name="G1" fmla="+- 21600 0 4561"/>
              <a:gd name="G2" fmla="+- 21600 0 456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4561" y="10800"/>
                </a:moveTo>
                <a:cubicBezTo>
                  <a:pt x="4561" y="14246"/>
                  <a:pt x="7354" y="17039"/>
                  <a:pt x="10800" y="17039"/>
                </a:cubicBezTo>
                <a:cubicBezTo>
                  <a:pt x="14246" y="17039"/>
                  <a:pt x="17039" y="14246"/>
                  <a:pt x="17039" y="10800"/>
                </a:cubicBezTo>
                <a:cubicBezTo>
                  <a:pt x="17039" y="7354"/>
                  <a:pt x="14246" y="4561"/>
                  <a:pt x="10800" y="4561"/>
                </a:cubicBezTo>
                <a:cubicBezTo>
                  <a:pt x="7354" y="4561"/>
                  <a:pt x="4561" y="7354"/>
                  <a:pt x="4561" y="10800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93" name="Text Box 29"/>
          <p:cNvSpPr txBox="1">
            <a:spLocks noChangeArrowheads="1"/>
          </p:cNvSpPr>
          <p:nvPr/>
        </p:nvSpPr>
        <p:spPr bwMode="auto">
          <a:xfrm>
            <a:off x="7150213" y="5296149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 altLang="en-US"/>
          </a:p>
        </p:txBody>
      </p:sp>
      <p:sp>
        <p:nvSpPr>
          <p:cNvPr id="88094" name="Text Box 30"/>
          <p:cNvSpPr txBox="1">
            <a:spLocks noChangeArrowheads="1"/>
          </p:cNvSpPr>
          <p:nvPr/>
        </p:nvSpPr>
        <p:spPr bwMode="auto">
          <a:xfrm>
            <a:off x="7150213" y="5372349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 altLang="en-US"/>
          </a:p>
        </p:txBody>
      </p:sp>
      <p:sp>
        <p:nvSpPr>
          <p:cNvPr id="88104" name="AutoShape 40"/>
          <p:cNvSpPr>
            <a:spLocks noChangeArrowheads="1"/>
          </p:cNvSpPr>
          <p:nvPr/>
        </p:nvSpPr>
        <p:spPr bwMode="auto">
          <a:xfrm>
            <a:off x="685800" y="4191000"/>
            <a:ext cx="2216377" cy="1851201"/>
          </a:xfrm>
          <a:prstGeom prst="wedgeEllipseCallout">
            <a:avLst>
              <a:gd name="adj1" fmla="val 111026"/>
              <a:gd name="adj2" fmla="val -8137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nl-NL" altLang="en-US" sz="2000" b="1" i="1" dirty="0">
                <a:solidFill>
                  <a:srgbClr val="FFCC00"/>
                </a:solidFill>
              </a:rPr>
              <a:t>Result as strong as weakest link</a:t>
            </a:r>
          </a:p>
          <a:p>
            <a:pPr algn="ctr"/>
            <a:endParaRPr lang="nl-NL" altLang="en-US" sz="2000" b="1" i="1" dirty="0"/>
          </a:p>
        </p:txBody>
      </p:sp>
      <p:sp>
        <p:nvSpPr>
          <p:cNvPr id="88109" name="Line 45"/>
          <p:cNvSpPr>
            <a:spLocks noChangeShapeType="1"/>
          </p:cNvSpPr>
          <p:nvPr/>
        </p:nvSpPr>
        <p:spPr bwMode="auto">
          <a:xfrm>
            <a:off x="3486263" y="4305549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111" name="AutoShape 47"/>
          <p:cNvSpPr>
            <a:spLocks noChangeArrowheads="1"/>
          </p:cNvSpPr>
          <p:nvPr/>
        </p:nvSpPr>
        <p:spPr bwMode="auto">
          <a:xfrm rot="2933578">
            <a:off x="4575288" y="3654674"/>
            <a:ext cx="838200" cy="812800"/>
          </a:xfrm>
          <a:custGeom>
            <a:avLst/>
            <a:gdLst>
              <a:gd name="G0" fmla="+- 9661 0 0"/>
              <a:gd name="G1" fmla="+- -10584764 0 0"/>
              <a:gd name="G2" fmla="+- 0 0 -10584764"/>
              <a:gd name="T0" fmla="*/ 0 256 1"/>
              <a:gd name="T1" fmla="*/ 180 256 1"/>
              <a:gd name="G3" fmla="+- -10584764 T0 T1"/>
              <a:gd name="T2" fmla="*/ 0 256 1"/>
              <a:gd name="T3" fmla="*/ 90 256 1"/>
              <a:gd name="G4" fmla="+- -10584764 T2 T3"/>
              <a:gd name="G5" fmla="*/ G4 2 1"/>
              <a:gd name="T4" fmla="*/ 90 256 1"/>
              <a:gd name="T5" fmla="*/ 0 256 1"/>
              <a:gd name="G6" fmla="+- -10584764 T4 T5"/>
              <a:gd name="G7" fmla="*/ G6 2 1"/>
              <a:gd name="G8" fmla="abs -10584764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661"/>
              <a:gd name="G18" fmla="*/ 9661 1 2"/>
              <a:gd name="G19" fmla="+- G18 5400 0"/>
              <a:gd name="G20" fmla="cos G19 -10584764"/>
              <a:gd name="G21" fmla="sin G19 -10584764"/>
              <a:gd name="G22" fmla="+- G20 10800 0"/>
              <a:gd name="G23" fmla="+- G21 10800 0"/>
              <a:gd name="G24" fmla="+- 10800 0 G20"/>
              <a:gd name="G25" fmla="+- 9661 10800 0"/>
              <a:gd name="G26" fmla="?: G9 G17 G25"/>
              <a:gd name="G27" fmla="?: G9 0 21600"/>
              <a:gd name="G28" fmla="cos 10800 -10584764"/>
              <a:gd name="G29" fmla="sin 10800 -10584764"/>
              <a:gd name="G30" fmla="sin 9661 -10584764"/>
              <a:gd name="G31" fmla="+- G28 10800 0"/>
              <a:gd name="G32" fmla="+- G29 10800 0"/>
              <a:gd name="G33" fmla="+- G30 10800 0"/>
              <a:gd name="G34" fmla="?: G4 0 G31"/>
              <a:gd name="G35" fmla="?: -10584764 G34 0"/>
              <a:gd name="G36" fmla="?: G6 G35 G31"/>
              <a:gd name="G37" fmla="+- 21600 0 G36"/>
              <a:gd name="G38" fmla="?: G4 0 G33"/>
              <a:gd name="G39" fmla="?: -10584764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097 w 21600"/>
              <a:gd name="T15" fmla="*/ 7555 h 21600"/>
              <a:gd name="T16" fmla="*/ 10800 w 21600"/>
              <a:gd name="T17" fmla="*/ 1139 h 21600"/>
              <a:gd name="T18" fmla="*/ 20503 w 21600"/>
              <a:gd name="T19" fmla="*/ 7555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637" y="7736"/>
                </a:moveTo>
                <a:cubicBezTo>
                  <a:pt x="2955" y="3795"/>
                  <a:pt x="6644" y="1138"/>
                  <a:pt x="10800" y="1139"/>
                </a:cubicBezTo>
                <a:cubicBezTo>
                  <a:pt x="14955" y="1139"/>
                  <a:pt x="18644" y="3795"/>
                  <a:pt x="19962" y="7736"/>
                </a:cubicBezTo>
                <a:lnTo>
                  <a:pt x="21042" y="7375"/>
                </a:lnTo>
                <a:cubicBezTo>
                  <a:pt x="19569" y="2969"/>
                  <a:pt x="15444" y="-1"/>
                  <a:pt x="10799" y="0"/>
                </a:cubicBezTo>
                <a:cubicBezTo>
                  <a:pt x="6155" y="0"/>
                  <a:pt x="2030" y="2969"/>
                  <a:pt x="557" y="7375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112" name="AutoShape 48"/>
          <p:cNvSpPr>
            <a:spLocks noChangeArrowheads="1"/>
          </p:cNvSpPr>
          <p:nvPr/>
        </p:nvSpPr>
        <p:spPr bwMode="auto">
          <a:xfrm rot="12818299">
            <a:off x="4722926" y="3495924"/>
            <a:ext cx="838200" cy="817563"/>
          </a:xfrm>
          <a:custGeom>
            <a:avLst/>
            <a:gdLst>
              <a:gd name="G0" fmla="+- 8963 0 0"/>
              <a:gd name="G1" fmla="+- -10382484 0 0"/>
              <a:gd name="G2" fmla="+- 0 0 -10382484"/>
              <a:gd name="T0" fmla="*/ 0 256 1"/>
              <a:gd name="T1" fmla="*/ 180 256 1"/>
              <a:gd name="G3" fmla="+- -10382484 T0 T1"/>
              <a:gd name="T2" fmla="*/ 0 256 1"/>
              <a:gd name="T3" fmla="*/ 90 256 1"/>
              <a:gd name="G4" fmla="+- -10382484 T2 T3"/>
              <a:gd name="G5" fmla="*/ G4 2 1"/>
              <a:gd name="T4" fmla="*/ 90 256 1"/>
              <a:gd name="T5" fmla="*/ 0 256 1"/>
              <a:gd name="G6" fmla="+- -10382484 T4 T5"/>
              <a:gd name="G7" fmla="*/ G6 2 1"/>
              <a:gd name="G8" fmla="abs -10382484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8963"/>
              <a:gd name="G18" fmla="*/ 8963 1 2"/>
              <a:gd name="G19" fmla="+- G18 5400 0"/>
              <a:gd name="G20" fmla="cos G19 -10382484"/>
              <a:gd name="G21" fmla="sin G19 -10382484"/>
              <a:gd name="G22" fmla="+- G20 10800 0"/>
              <a:gd name="G23" fmla="+- G21 10800 0"/>
              <a:gd name="G24" fmla="+- 10800 0 G20"/>
              <a:gd name="G25" fmla="+- 8963 10800 0"/>
              <a:gd name="G26" fmla="?: G9 G17 G25"/>
              <a:gd name="G27" fmla="?: G9 0 21600"/>
              <a:gd name="G28" fmla="cos 10800 -10382484"/>
              <a:gd name="G29" fmla="sin 10800 -10382484"/>
              <a:gd name="G30" fmla="sin 8963 -10382484"/>
              <a:gd name="G31" fmla="+- G28 10800 0"/>
              <a:gd name="G32" fmla="+- G29 10800 0"/>
              <a:gd name="G33" fmla="+- G30 10800 0"/>
              <a:gd name="G34" fmla="?: G4 0 G31"/>
              <a:gd name="G35" fmla="?: -10382484 G34 0"/>
              <a:gd name="G36" fmla="?: G6 G35 G31"/>
              <a:gd name="G37" fmla="+- 21600 0 G36"/>
              <a:gd name="G38" fmla="?: G4 0 G33"/>
              <a:gd name="G39" fmla="?: -10382484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610 w 21600"/>
              <a:gd name="T15" fmla="*/ 7166 h 21600"/>
              <a:gd name="T16" fmla="*/ 10800 w 21600"/>
              <a:gd name="T17" fmla="*/ 1837 h 21600"/>
              <a:gd name="T18" fmla="*/ 19990 w 21600"/>
              <a:gd name="T19" fmla="*/ 7166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465" y="7504"/>
                </a:moveTo>
                <a:cubicBezTo>
                  <a:pt x="3817" y="4083"/>
                  <a:pt x="7122" y="1836"/>
                  <a:pt x="10800" y="1837"/>
                </a:cubicBezTo>
                <a:cubicBezTo>
                  <a:pt x="14477" y="1837"/>
                  <a:pt x="17782" y="4083"/>
                  <a:pt x="19134" y="7504"/>
                </a:cubicBezTo>
                <a:lnTo>
                  <a:pt x="20843" y="6828"/>
                </a:lnTo>
                <a:cubicBezTo>
                  <a:pt x="19213" y="2707"/>
                  <a:pt x="15231" y="-1"/>
                  <a:pt x="10799" y="0"/>
                </a:cubicBezTo>
                <a:cubicBezTo>
                  <a:pt x="6368" y="0"/>
                  <a:pt x="2386" y="2707"/>
                  <a:pt x="756" y="6828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114" name="AutoShape 50"/>
          <p:cNvSpPr>
            <a:spLocks noChangeArrowheads="1"/>
          </p:cNvSpPr>
          <p:nvPr/>
        </p:nvSpPr>
        <p:spPr bwMode="auto">
          <a:xfrm>
            <a:off x="3943463" y="3086349"/>
            <a:ext cx="914400" cy="762000"/>
          </a:xfrm>
          <a:prstGeom prst="irregularSeal1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523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dissolve/>
      </p:transition>
    </mc:Choice>
    <mc:Fallback>
      <p:transition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314" name="Straight Arrow Connector 6"/>
          <p:cNvCxnSpPr>
            <a:cxnSpLocks noChangeShapeType="1"/>
          </p:cNvCxnSpPr>
          <p:nvPr/>
        </p:nvCxnSpPr>
        <p:spPr bwMode="auto">
          <a:xfrm>
            <a:off x="1524000" y="2133600"/>
            <a:ext cx="1524000" cy="2743200"/>
          </a:xfrm>
          <a:prstGeom prst="straightConnector1">
            <a:avLst/>
          </a:prstGeom>
          <a:noFill/>
          <a:ln w="76200" algn="ctr">
            <a:solidFill>
              <a:srgbClr val="FF33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315" name="TextBox 9"/>
          <p:cNvSpPr txBox="1">
            <a:spLocks noChangeArrowheads="1"/>
          </p:cNvSpPr>
          <p:nvPr/>
        </p:nvSpPr>
        <p:spPr bwMode="auto">
          <a:xfrm>
            <a:off x="3276600" y="5029200"/>
            <a:ext cx="25146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+mn-lt"/>
              </a:rPr>
              <a:t>FACTORY/ MILK PROCESSING</a:t>
            </a:r>
            <a:endParaRPr lang="en-US" altLang="en-US" sz="1800" b="1" dirty="0">
              <a:latin typeface="+mn-lt"/>
            </a:endParaRPr>
          </a:p>
        </p:txBody>
      </p:sp>
      <p:cxnSp>
        <p:nvCxnSpPr>
          <p:cNvPr id="13316" name="Straight Arrow Connector 13"/>
          <p:cNvCxnSpPr>
            <a:cxnSpLocks noChangeShapeType="1"/>
          </p:cNvCxnSpPr>
          <p:nvPr/>
        </p:nvCxnSpPr>
        <p:spPr bwMode="auto">
          <a:xfrm flipH="1">
            <a:off x="5638800" y="2514600"/>
            <a:ext cx="1219200" cy="2209800"/>
          </a:xfrm>
          <a:prstGeom prst="straightConnector1">
            <a:avLst/>
          </a:prstGeom>
          <a:noFill/>
          <a:ln w="76200" algn="ctr">
            <a:solidFill>
              <a:schemeClr val="accent6">
                <a:lumMod val="75000"/>
              </a:schemeClr>
            </a:solidFill>
            <a:prstDash val="sysDash"/>
            <a:round/>
            <a:headEnd/>
            <a:tailEnd type="arrow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317" name="TextBox 14"/>
          <p:cNvSpPr txBox="1">
            <a:spLocks noChangeArrowheads="1"/>
          </p:cNvSpPr>
          <p:nvPr/>
        </p:nvSpPr>
        <p:spPr bwMode="auto">
          <a:xfrm>
            <a:off x="6019800" y="1447800"/>
            <a:ext cx="1828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+mn-lt"/>
              </a:rPr>
              <a:t>FARMER</a:t>
            </a:r>
            <a:endParaRPr lang="en-US" altLang="en-US" sz="1800" b="1" dirty="0">
              <a:latin typeface="+mn-lt"/>
            </a:endParaRPr>
          </a:p>
        </p:txBody>
      </p:sp>
      <p:sp>
        <p:nvSpPr>
          <p:cNvPr id="13318" name="TextBox 15"/>
          <p:cNvSpPr txBox="1">
            <a:spLocks noChangeArrowheads="1"/>
          </p:cNvSpPr>
          <p:nvPr/>
        </p:nvSpPr>
        <p:spPr bwMode="auto">
          <a:xfrm>
            <a:off x="914400" y="1447800"/>
            <a:ext cx="22098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+mn-lt"/>
              </a:rPr>
              <a:t>COOPERATIVES</a:t>
            </a:r>
            <a:endParaRPr lang="en-US" altLang="en-US" sz="1800" b="1" dirty="0">
              <a:latin typeface="+mn-lt"/>
            </a:endParaRPr>
          </a:p>
        </p:txBody>
      </p:sp>
      <p:cxnSp>
        <p:nvCxnSpPr>
          <p:cNvPr id="13319" name="Straight Arrow Connector 17"/>
          <p:cNvCxnSpPr>
            <a:cxnSpLocks noChangeShapeType="1"/>
          </p:cNvCxnSpPr>
          <p:nvPr/>
        </p:nvCxnSpPr>
        <p:spPr bwMode="auto">
          <a:xfrm>
            <a:off x="3276600" y="1600200"/>
            <a:ext cx="2133600" cy="0"/>
          </a:xfrm>
          <a:prstGeom prst="straightConnector1">
            <a:avLst/>
          </a:prstGeom>
          <a:noFill/>
          <a:ln w="76200" algn="ctr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20" name="Straight Arrow Connector 19"/>
          <p:cNvCxnSpPr>
            <a:cxnSpLocks noChangeShapeType="1"/>
          </p:cNvCxnSpPr>
          <p:nvPr/>
        </p:nvCxnSpPr>
        <p:spPr bwMode="auto">
          <a:xfrm flipH="1">
            <a:off x="3276600" y="1447800"/>
            <a:ext cx="2133600" cy="0"/>
          </a:xfrm>
          <a:prstGeom prst="straightConnector1">
            <a:avLst/>
          </a:prstGeom>
          <a:noFill/>
          <a:ln w="76200" algn="ctr">
            <a:solidFill>
              <a:srgbClr val="00B05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>
          <a:xfrm>
            <a:off x="0" y="3143071"/>
            <a:ext cx="3048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  <a:defRPr/>
            </a:pPr>
            <a:r>
              <a:rPr lang="en-US" b="1" dirty="0" smtClean="0">
                <a:cs typeface="+mn-cs"/>
              </a:rPr>
              <a:t>BUYING-</a:t>
            </a:r>
          </a:p>
          <a:p>
            <a:pPr>
              <a:defRPr/>
            </a:pPr>
            <a:r>
              <a:rPr lang="en-US" b="1" dirty="0"/>
              <a:t> </a:t>
            </a:r>
            <a:r>
              <a:rPr lang="en-US" b="1" dirty="0" smtClean="0"/>
              <a:t>    </a:t>
            </a:r>
            <a:r>
              <a:rPr lang="en-US" b="1" dirty="0" smtClean="0">
                <a:cs typeface="+mn-cs"/>
              </a:rPr>
              <a:t>SELLING</a:t>
            </a:r>
            <a:endParaRPr lang="en-US" b="1" dirty="0">
              <a:cs typeface="+mn-cs"/>
            </a:endParaRPr>
          </a:p>
          <a:p>
            <a:pPr>
              <a:defRPr/>
            </a:pPr>
            <a:r>
              <a:rPr lang="en-US" b="1" dirty="0" smtClean="0">
                <a:cs typeface="+mn-cs"/>
              </a:rPr>
              <a:t>2. EXTENSION</a:t>
            </a:r>
          </a:p>
          <a:p>
            <a:pPr>
              <a:defRPr/>
            </a:pPr>
            <a:r>
              <a:rPr lang="en-US" b="1" dirty="0" smtClean="0">
                <a:cs typeface="+mn-cs"/>
              </a:rPr>
              <a:t>3. TRANSPARANCY</a:t>
            </a:r>
            <a:endParaRPr lang="en-US" b="1" dirty="0">
              <a:cs typeface="+mn-cs"/>
            </a:endParaRPr>
          </a:p>
          <a:p>
            <a:pPr>
              <a:defRPr/>
            </a:pPr>
            <a:endParaRPr lang="en-US" b="1" dirty="0">
              <a:cs typeface="+mn-cs"/>
            </a:endParaRPr>
          </a:p>
        </p:txBody>
      </p:sp>
      <p:cxnSp>
        <p:nvCxnSpPr>
          <p:cNvPr id="13322" name="Straight Arrow Connector 23"/>
          <p:cNvCxnSpPr>
            <a:cxnSpLocks noChangeShapeType="1"/>
          </p:cNvCxnSpPr>
          <p:nvPr/>
        </p:nvCxnSpPr>
        <p:spPr bwMode="auto">
          <a:xfrm flipH="1" flipV="1">
            <a:off x="1676400" y="1981200"/>
            <a:ext cx="1524000" cy="2743200"/>
          </a:xfrm>
          <a:prstGeom prst="straightConnector1">
            <a:avLst/>
          </a:prstGeom>
          <a:noFill/>
          <a:ln w="76200" algn="ctr">
            <a:solidFill>
              <a:srgbClr val="0070C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23" name="Straight Arrow Connector 25"/>
          <p:cNvCxnSpPr>
            <a:cxnSpLocks noChangeShapeType="1"/>
          </p:cNvCxnSpPr>
          <p:nvPr/>
        </p:nvCxnSpPr>
        <p:spPr bwMode="auto">
          <a:xfrm flipV="1">
            <a:off x="5486400" y="2362200"/>
            <a:ext cx="1219200" cy="2209800"/>
          </a:xfrm>
          <a:prstGeom prst="straightConnector1">
            <a:avLst/>
          </a:prstGeom>
          <a:noFill/>
          <a:ln w="76200" algn="ctr">
            <a:solidFill>
              <a:srgbClr val="7030A0"/>
            </a:solidFill>
            <a:prstDash val="dash"/>
            <a:round/>
            <a:headEnd/>
            <a:tailEnd type="arrow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324" name="TextBox 26"/>
          <p:cNvSpPr txBox="1">
            <a:spLocks noChangeArrowheads="1"/>
          </p:cNvSpPr>
          <p:nvPr/>
        </p:nvSpPr>
        <p:spPr bwMode="auto">
          <a:xfrm>
            <a:off x="3581400" y="1066800"/>
            <a:ext cx="18288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+mj-lt"/>
              </a:rPr>
              <a:t>SERVICES</a:t>
            </a:r>
            <a:endParaRPr lang="en-US" altLang="en-US" sz="1800" b="1" dirty="0">
              <a:latin typeface="+mj-lt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b="1" dirty="0">
              <a:latin typeface="+mj-lt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+mj-lt"/>
              </a:rPr>
              <a:t>EXTENSION</a:t>
            </a:r>
            <a:endParaRPr lang="en-US" altLang="en-US" sz="1800" b="1" dirty="0">
              <a:latin typeface="+mj-lt"/>
            </a:endParaRPr>
          </a:p>
        </p:txBody>
      </p:sp>
      <p:sp>
        <p:nvSpPr>
          <p:cNvPr id="13325" name="TextBox 27"/>
          <p:cNvSpPr txBox="1">
            <a:spLocks noChangeArrowheads="1"/>
          </p:cNvSpPr>
          <p:nvPr/>
        </p:nvSpPr>
        <p:spPr bwMode="auto">
          <a:xfrm>
            <a:off x="6313488" y="3675063"/>
            <a:ext cx="26781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+mn-lt"/>
              </a:rPr>
              <a:t>1. </a:t>
            </a:r>
            <a:r>
              <a:rPr lang="en-US" altLang="en-US" sz="1800" b="1" dirty="0" smtClean="0">
                <a:latin typeface="+mn-lt"/>
              </a:rPr>
              <a:t>EXTENSION</a:t>
            </a:r>
            <a:endParaRPr lang="en-US" altLang="en-US" sz="1800" b="1" dirty="0">
              <a:latin typeface="+mn-lt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+mn-lt"/>
              </a:rPr>
              <a:t>2. </a:t>
            </a:r>
            <a:r>
              <a:rPr lang="en-US" altLang="en-US" sz="1800" b="1" dirty="0" smtClean="0">
                <a:latin typeface="+mn-lt"/>
              </a:rPr>
              <a:t>TRANSPARANCY</a:t>
            </a:r>
            <a:endParaRPr lang="en-US" altLang="en-US" sz="1800" b="1" dirty="0">
              <a:latin typeface="+mn-lt"/>
            </a:endParaRPr>
          </a:p>
        </p:txBody>
      </p:sp>
      <p:sp>
        <p:nvSpPr>
          <p:cNvPr id="13326" name="TextBox 1"/>
          <p:cNvSpPr txBox="1">
            <a:spLocks noChangeArrowheads="1"/>
          </p:cNvSpPr>
          <p:nvPr/>
        </p:nvSpPr>
        <p:spPr bwMode="auto">
          <a:xfrm>
            <a:off x="914400" y="5907088"/>
            <a:ext cx="7239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400" b="1" dirty="0" smtClean="0">
                <a:solidFill>
                  <a:srgbClr val="002060"/>
                </a:solidFill>
                <a:latin typeface="+mn-lt"/>
              </a:rPr>
              <a:t>ROLE OF UNIVERSITY AND RESEARCH ?</a:t>
            </a:r>
            <a:endParaRPr lang="en-US" altLang="en-US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3327" name="Oval 2"/>
          <p:cNvSpPr>
            <a:spLocks noChangeArrowheads="1"/>
          </p:cNvSpPr>
          <p:nvPr/>
        </p:nvSpPr>
        <p:spPr bwMode="auto">
          <a:xfrm>
            <a:off x="3200400" y="2514600"/>
            <a:ext cx="2590800" cy="1484313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GOVERNMENT</a:t>
            </a:r>
            <a:endParaRPr lang="en-US" altLang="en-US" sz="18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2819400" y="152400"/>
            <a:ext cx="56388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</a:rPr>
              <a:t>WHERE IS OUR ROLE ?</a:t>
            </a:r>
          </a:p>
        </p:txBody>
      </p:sp>
    </p:spTree>
    <p:extLst>
      <p:ext uri="{BB962C8B-B14F-4D97-AF65-F5344CB8AC3E}">
        <p14:creationId xmlns:p14="http://schemas.microsoft.com/office/powerpoint/2010/main" val="295126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3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3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3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3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2000"/>
                                        <p:tgtEl>
                                          <p:spTgt spid="13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2000"/>
                                        <p:tgtEl>
                                          <p:spTgt spid="133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2000" fill="hold"/>
                                        <p:tgtEl>
                                          <p:spTgt spid="133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2000" fill="hold"/>
                                        <p:tgtEl>
                                          <p:spTgt spid="133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4" dur="2000"/>
                                        <p:tgtEl>
                                          <p:spTgt spid="13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5" grpId="0"/>
      <p:bldP spid="13317" grpId="0"/>
      <p:bldP spid="13318" grpId="0"/>
      <p:bldP spid="22" grpId="0"/>
      <p:bldP spid="13324" grpId="0"/>
      <p:bldP spid="13325" grpId="0"/>
      <p:bldP spid="13326" grpId="0"/>
      <p:bldP spid="133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4800" y="0"/>
            <a:ext cx="2362200" cy="1143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2" descr="E:\01. Akhmad - DDP\50. Stocks Pictures\50.1 Pangalengan by Josh for DDP Global 8-Apr-15\JPEG EDIT\FRISIANFLAG-2015-JE-018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501" y="228600"/>
            <a:ext cx="4612499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E:\01. Akhmad - DDP\50. Stocks Pictures\50.1 Pangalengan by Josh for DDP Global 8-Apr-15\JPEG EDIT\FRISIANFLAG-2015-JE-011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52800"/>
            <a:ext cx="4572000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E:\01. Akhmad - DDP\50. Stocks Pictures\50.2 Lembang by Josh\N37A0251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500" y="3352800"/>
            <a:ext cx="4612500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 descr="E:\01. Akhmad - DDP\50. Stocks Pictures\50.2 Lembang by Josh\N37A0307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"/>
            <a:ext cx="4531501" cy="311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914400" y="5334000"/>
            <a:ext cx="8001000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7200" b="1" spc="50" dirty="0" smtClean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hank you…..</a:t>
            </a:r>
            <a:endParaRPr lang="en-US" sz="7200" b="1" spc="50" dirty="0">
              <a:ln w="11430"/>
              <a:solidFill>
                <a:schemeClr val="bg1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56330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stainability </a:t>
            </a:r>
            <a:r>
              <a:rPr lang="en-US" dirty="0" err="1" smtClean="0"/>
              <a:t>walfare</a:t>
            </a:r>
            <a:endParaRPr lang="en-US" dirty="0"/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1381125"/>
            <a:ext cx="8486775" cy="409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29300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981200" y="152400"/>
            <a:ext cx="6858000" cy="8382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r" defTabSz="913529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Indonesia Dairy Farmers </a:t>
            </a:r>
            <a:br>
              <a:rPr lang="en-US" dirty="0" smtClean="0"/>
            </a:br>
            <a:r>
              <a:rPr lang="en-US" sz="1800" i="1" dirty="0" smtClean="0">
                <a:solidFill>
                  <a:srgbClr val="64666C"/>
                </a:solidFill>
              </a:rPr>
              <a:t>conditions and challenges</a:t>
            </a:r>
            <a:endParaRPr lang="en-US" sz="1800" i="1" dirty="0">
              <a:solidFill>
                <a:srgbClr val="64666C"/>
              </a:solidFill>
            </a:endParaRPr>
          </a:p>
        </p:txBody>
      </p:sp>
      <p:sp>
        <p:nvSpPr>
          <p:cNvPr id="3" name="Rectangle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600" y="990600"/>
            <a:ext cx="8229600" cy="94752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 anchorCtr="0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GB" sz="2000" dirty="0">
                <a:solidFill>
                  <a:srgbClr val="1F497D"/>
                </a:solidFill>
                <a:latin typeface="Calibri"/>
                <a:cs typeface="Calibri"/>
              </a:rPr>
              <a:t>98% of total milk is produced </a:t>
            </a:r>
            <a:r>
              <a:rPr lang="en-GB" sz="2000" dirty="0" smtClean="0">
                <a:solidFill>
                  <a:srgbClr val="1F497D"/>
                </a:solidFill>
                <a:latin typeface="Calibri"/>
                <a:cs typeface="Calibri"/>
              </a:rPr>
              <a:t>on Java </a:t>
            </a:r>
            <a:r>
              <a:rPr lang="en-GB" sz="2000" dirty="0">
                <a:solidFill>
                  <a:srgbClr val="1F497D"/>
                </a:solidFill>
                <a:latin typeface="Calibri"/>
                <a:cs typeface="Calibri"/>
              </a:rPr>
              <a:t>island, total milk production: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GB" sz="2000" dirty="0">
                <a:solidFill>
                  <a:srgbClr val="1F497D"/>
                </a:solidFill>
                <a:latin typeface="Calibri"/>
                <a:cs typeface="Calibri"/>
              </a:rPr>
              <a:t>± </a:t>
            </a:r>
            <a:r>
              <a:rPr lang="en-GB" sz="2000" dirty="0" smtClean="0">
                <a:solidFill>
                  <a:srgbClr val="1F497D"/>
                </a:solidFill>
                <a:latin typeface="Calibri"/>
                <a:cs typeface="Calibri"/>
              </a:rPr>
              <a:t>1,564 MT/day from approx. 120,000 farmers</a:t>
            </a:r>
            <a:endParaRPr lang="en-GB" sz="2000" dirty="0">
              <a:solidFill>
                <a:srgbClr val="1F497D"/>
              </a:solidFill>
              <a:latin typeface="Calibri"/>
              <a:cs typeface="Calibri"/>
            </a:endParaRPr>
          </a:p>
        </p:txBody>
      </p:sp>
      <p:pic>
        <p:nvPicPr>
          <p:cNvPr id="4" name="Picture 47" descr="http://travelworlds.info/wp-content/uploads/2012/08/java-map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" y="1828800"/>
            <a:ext cx="7377843" cy="1976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00" y="4028938"/>
            <a:ext cx="1652973" cy="10972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00" y="5151200"/>
            <a:ext cx="1682680" cy="109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4527121" y="4028938"/>
            <a:ext cx="3688922" cy="2219462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4724401" y="5105400"/>
            <a:ext cx="3505199" cy="83819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solidFill>
                  <a:schemeClr val="bg1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Smal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solidFill>
                  <a:schemeClr val="bg1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hol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solidFill>
                  <a:schemeClr val="bg1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dairy farm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none" strike="noStrike" kern="1200" cap="none" spc="0" normalizeH="0" baseline="0" noProof="0" dirty="0">
              <a:solidFill>
                <a:schemeClr val="bg1"/>
              </a:solidFill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pic>
        <p:nvPicPr>
          <p:cNvPr id="19" name="Picture 1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97"/>
          <a:stretch/>
        </p:blipFill>
        <p:spPr bwMode="auto">
          <a:xfrm>
            <a:off x="2620507" y="5151200"/>
            <a:ext cx="1646693" cy="109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Action Button: Forward or Next 21">
            <a:hlinkClick r:id="" action="ppaction://hlinkshowjump?jump=nextslide" highlightClick="1"/>
          </p:cNvPr>
          <p:cNvSpPr/>
          <p:nvPr/>
        </p:nvSpPr>
        <p:spPr>
          <a:xfrm>
            <a:off x="7696200" y="5943600"/>
            <a:ext cx="304800" cy="228600"/>
          </a:xfrm>
          <a:prstGeom prst="actionButtonForwardNex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3971" name="Picture 3" descr="F:\My Pictures April 2015\Sybren Pangalengan\FRISIANFLAG-2015-JE-0225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080" y="4028937"/>
            <a:ext cx="1664597" cy="1109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043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533400" y="2514600"/>
            <a:ext cx="2286000" cy="685800"/>
          </a:xfrm>
          <a:prstGeom prst="roundRect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Lack of Knowledge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33400" y="4267200"/>
            <a:ext cx="2286000" cy="685800"/>
          </a:xfrm>
          <a:prstGeom prst="roundRect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Land Availability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3400" y="5410200"/>
            <a:ext cx="2286000" cy="685800"/>
          </a:xfrm>
          <a:prstGeom prst="roundRect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Regeneration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505200" y="1981200"/>
            <a:ext cx="2286000" cy="838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apacity Building : Staff &amp; Board Coop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505200" y="2971800"/>
            <a:ext cx="2286000" cy="6858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B : Farmer </a:t>
            </a:r>
            <a:r>
              <a:rPr lang="en-US" b="1" dirty="0">
                <a:solidFill>
                  <a:schemeClr val="bg1"/>
                </a:solidFill>
              </a:rPr>
              <a:t>l</a:t>
            </a:r>
            <a:r>
              <a:rPr lang="en-US" b="1" dirty="0" smtClean="0">
                <a:solidFill>
                  <a:schemeClr val="bg1"/>
                </a:solidFill>
              </a:rPr>
              <a:t>evel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505200" y="4724400"/>
            <a:ext cx="2286000" cy="6858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w Ownership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505200" y="3886200"/>
            <a:ext cx="2286000" cy="6858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Grass / Roughage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629400" y="3429000"/>
            <a:ext cx="2286000" cy="685800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Qualit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629400" y="2628900"/>
            <a:ext cx="2286000" cy="685800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Productivit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2895600" y="2743200"/>
            <a:ext cx="533400" cy="342900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2911929" y="4438650"/>
            <a:ext cx="533400" cy="342900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5943600" y="3238500"/>
            <a:ext cx="533400" cy="342900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752600" y="762000"/>
            <a:ext cx="6858000" cy="83820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algn="r" defTabSz="913529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Challenges </a:t>
            </a:r>
          </a:p>
          <a:p>
            <a:r>
              <a:rPr lang="en-US" b="1" dirty="0" smtClean="0"/>
              <a:t>in Indonesia Dairy Farming</a:t>
            </a:r>
            <a:br>
              <a:rPr lang="en-US" b="1" dirty="0" smtClean="0"/>
            </a:br>
            <a:endParaRPr lang="en-US" sz="1800" b="1" i="1" dirty="0">
              <a:solidFill>
                <a:srgbClr val="64666C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596743" y="4381500"/>
            <a:ext cx="2286000" cy="685800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Farmer Welfar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5912757" y="4456793"/>
            <a:ext cx="533400" cy="342900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90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15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A9F09-2674-4D1F-96DC-F8F1E600149B}" type="slidenum">
              <a:rPr lang="en-US" smtClean="0"/>
              <a:t>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144000" cy="1219199"/>
          </a:xfrm>
          <a:prstGeom prst="rect">
            <a:avLst/>
          </a:prstGeom>
          <a:solidFill>
            <a:srgbClr val="00B0F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  DAIRY DEVELOPMENT PROGRAM</a:t>
            </a:r>
            <a:endParaRPr lang="en-US" sz="2400" b="1" dirty="0"/>
          </a:p>
        </p:txBody>
      </p:sp>
      <p:pic>
        <p:nvPicPr>
          <p:cNvPr id="829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9200"/>
            <a:ext cx="9144000" cy="579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ction Button: Forward or Next 7">
            <a:hlinkClick r:id="" action="ppaction://hlinkshowjump?jump=nextslide" highlightClick="1"/>
          </p:cNvPr>
          <p:cNvSpPr/>
          <p:nvPr/>
        </p:nvSpPr>
        <p:spPr>
          <a:xfrm>
            <a:off x="3200400" y="2209800"/>
            <a:ext cx="304800" cy="228600"/>
          </a:xfrm>
          <a:prstGeom prst="actionButtonForwardNex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ction Button: Forward or Next 8">
            <a:hlinkClick r:id="" action="ppaction://hlinkshowjump?jump=nextslide" highlightClick="1"/>
          </p:cNvPr>
          <p:cNvSpPr/>
          <p:nvPr/>
        </p:nvSpPr>
        <p:spPr>
          <a:xfrm>
            <a:off x="3200400" y="4191000"/>
            <a:ext cx="304800" cy="228600"/>
          </a:xfrm>
          <a:prstGeom prst="actionButtonForwardNex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ction Button: Forward or Next 9">
            <a:hlinkClick r:id="" action="ppaction://hlinkshowjump?jump=nextslide" highlightClick="1"/>
          </p:cNvPr>
          <p:cNvSpPr/>
          <p:nvPr/>
        </p:nvSpPr>
        <p:spPr>
          <a:xfrm>
            <a:off x="3200400" y="6172200"/>
            <a:ext cx="304800" cy="228600"/>
          </a:xfrm>
          <a:prstGeom prst="actionButtonForwardNex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946" name="Picture 2" descr="C:\Users\saputa03\AppData\Local\Microsoft\Windows\Temporary Internet Files\Content.Outlook\0EEVN6YE\3 Main Pilar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304800"/>
            <a:ext cx="1560414" cy="12801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03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 descr="C:\Users\nurhat01\Downloads\IMG_20180710_104600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05100" y="4110668"/>
            <a:ext cx="2768774" cy="177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D:\DDP Dept\61.0 BOD Meeting\61.1 Combined Pictures\Siaran radio 1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5100" y="4114800"/>
            <a:ext cx="2768774" cy="1743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 descr="C:\Users\nurhat01\Documents\My Received Files\IMG-20180813-WA0001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4563" y="4161570"/>
            <a:ext cx="2413352" cy="1452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76200" y="2514600"/>
            <a:ext cx="2286000" cy="685800"/>
          </a:xfrm>
          <a:prstGeom prst="roundRect">
            <a:avLst/>
          </a:prstGeom>
          <a:solidFill>
            <a:srgbClr val="FFC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Knowledge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200" y="4267200"/>
            <a:ext cx="2286000" cy="685800"/>
          </a:xfrm>
          <a:prstGeom prst="roundRect">
            <a:avLst/>
          </a:prstGeom>
          <a:solidFill>
            <a:srgbClr val="FFC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Land Availability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6200" y="5410200"/>
            <a:ext cx="2286000" cy="685800"/>
          </a:xfrm>
          <a:prstGeom prst="roundRect">
            <a:avLst/>
          </a:prstGeom>
          <a:solidFill>
            <a:srgbClr val="FFC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Regeneration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895600" y="1828800"/>
            <a:ext cx="2286000" cy="990600"/>
          </a:xfrm>
          <a:prstGeom prst="roundRect">
            <a:avLst/>
          </a:prstGeom>
          <a:solidFill>
            <a:srgbClr val="003300"/>
          </a:solidFill>
          <a:ln w="12700"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apacity Building : Staff &amp; Board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895600" y="3048000"/>
            <a:ext cx="2286000" cy="914400"/>
          </a:xfrm>
          <a:prstGeom prst="roundRect">
            <a:avLst/>
          </a:prstGeom>
          <a:solidFill>
            <a:srgbClr val="0033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B : Farmer </a:t>
            </a:r>
            <a:r>
              <a:rPr lang="en-US" b="1" dirty="0">
                <a:solidFill>
                  <a:schemeClr val="bg1"/>
                </a:solidFill>
              </a:rPr>
              <a:t>l</a:t>
            </a:r>
            <a:r>
              <a:rPr lang="en-US" b="1" dirty="0" smtClean="0">
                <a:solidFill>
                  <a:schemeClr val="bg1"/>
                </a:solidFill>
              </a:rPr>
              <a:t>evel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791200" y="1600200"/>
            <a:ext cx="3200400" cy="9144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>
                <a:solidFill>
                  <a:schemeClr val="bg1"/>
                </a:solidFill>
              </a:rPr>
              <a:t>Human Resources, Finance, Strategic </a:t>
            </a:r>
            <a:r>
              <a:rPr lang="en-US" b="1" dirty="0" err="1" smtClean="0">
                <a:solidFill>
                  <a:schemeClr val="bg1"/>
                </a:solidFill>
              </a:rPr>
              <a:t>Mngt</a:t>
            </a:r>
            <a:r>
              <a:rPr lang="en-US" b="1" dirty="0" smtClean="0">
                <a:solidFill>
                  <a:schemeClr val="bg1"/>
                </a:solidFill>
              </a:rPr>
              <a:t>, Farm </a:t>
            </a:r>
            <a:r>
              <a:rPr lang="en-US" b="1" dirty="0" err="1" smtClean="0">
                <a:solidFill>
                  <a:schemeClr val="bg1"/>
                </a:solidFill>
              </a:rPr>
              <a:t>Mngt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805714" y="5638800"/>
            <a:ext cx="3200400" cy="6858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Young Farmer Academ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791200" y="3505200"/>
            <a:ext cx="3200400" cy="625929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Farmer to Farme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791200" y="2590800"/>
            <a:ext cx="3200400" cy="8382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Radio </a:t>
            </a:r>
            <a:r>
              <a:rPr lang="en-US" b="1" dirty="0" err="1" smtClean="0">
                <a:solidFill>
                  <a:schemeClr val="bg1"/>
                </a:solidFill>
              </a:rPr>
              <a:t>Bewara</a:t>
            </a:r>
            <a:r>
              <a:rPr lang="en-US" b="1" dirty="0" smtClean="0">
                <a:solidFill>
                  <a:schemeClr val="bg1"/>
                </a:solidFill>
              </a:rPr>
              <a:t> &amp; </a:t>
            </a:r>
            <a:r>
              <a:rPr lang="en-US" b="1" dirty="0" err="1" smtClean="0">
                <a:solidFill>
                  <a:schemeClr val="bg1"/>
                </a:solidFill>
              </a:rPr>
              <a:t>Bewara</a:t>
            </a:r>
            <a:r>
              <a:rPr lang="en-US" b="1" dirty="0" smtClean="0">
                <a:solidFill>
                  <a:schemeClr val="bg1"/>
                </a:solidFill>
              </a:rPr>
              <a:t> Magazine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2438400" y="2743200"/>
            <a:ext cx="533400" cy="342900"/>
          </a:xfrm>
          <a:prstGeom prst="rightArrow">
            <a:avLst/>
          </a:prstGeom>
          <a:solidFill>
            <a:srgbClr val="0070C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5257800" y="1981200"/>
            <a:ext cx="533400" cy="342900"/>
          </a:xfrm>
          <a:prstGeom prst="rightArrow">
            <a:avLst/>
          </a:prstGeom>
          <a:solidFill>
            <a:srgbClr val="0070C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5257800" y="3048000"/>
            <a:ext cx="533400" cy="342900"/>
          </a:xfrm>
          <a:prstGeom prst="rightArrow">
            <a:avLst/>
          </a:prstGeom>
          <a:solidFill>
            <a:srgbClr val="0070C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2438400" y="5886450"/>
            <a:ext cx="3200400" cy="361950"/>
          </a:xfrm>
          <a:prstGeom prst="rightArrow">
            <a:avLst/>
          </a:prstGeom>
          <a:solidFill>
            <a:srgbClr val="0070C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752600" y="914400"/>
            <a:ext cx="6858000" cy="8382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r" defTabSz="913529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What did FFI support Dairy Farming ?</a:t>
            </a:r>
            <a:br>
              <a:rPr lang="en-US" b="1" dirty="0" smtClean="0"/>
            </a:br>
            <a:endParaRPr lang="en-US" sz="1800" b="1" i="1" dirty="0">
              <a:solidFill>
                <a:srgbClr val="64666C"/>
              </a:solidFill>
            </a:endParaRPr>
          </a:p>
        </p:txBody>
      </p: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564" y="4143065"/>
            <a:ext cx="2532993" cy="1429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4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4563" y="4143065"/>
            <a:ext cx="2413351" cy="1463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384" y="4173180"/>
            <a:ext cx="2413351" cy="1441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 descr="D:\Local Disk\IMG_0113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5099" y="4132940"/>
            <a:ext cx="2768775" cy="175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E:\01. Akhmad - DDP\02. DDP\02.62 Young Farmers Program\02.62.14 Pictures\02.62.14.2 High Res\DSC0074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353" y="4343400"/>
            <a:ext cx="2920447" cy="163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816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9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849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12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4"/>
          <p:cNvSpPr>
            <a:spLocks noChangeArrowheads="1"/>
          </p:cNvSpPr>
          <p:nvPr/>
        </p:nvSpPr>
        <p:spPr bwMode="auto">
          <a:xfrm>
            <a:off x="228600" y="1295400"/>
            <a:ext cx="1524000" cy="914400"/>
          </a:xfrm>
          <a:prstGeom prst="rect">
            <a:avLst/>
          </a:pr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FARMER</a:t>
            </a:r>
            <a:endParaRPr lang="en-US" altLang="en-US" sz="1800" b="1" dirty="0"/>
          </a:p>
        </p:txBody>
      </p:sp>
      <p:sp>
        <p:nvSpPr>
          <p:cNvPr id="25605" name="Rectangle 6"/>
          <p:cNvSpPr>
            <a:spLocks noChangeArrowheads="1"/>
          </p:cNvSpPr>
          <p:nvPr/>
        </p:nvSpPr>
        <p:spPr bwMode="auto">
          <a:xfrm>
            <a:off x="2509157" y="3505200"/>
            <a:ext cx="2252679" cy="9144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MCP WIT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LING TANKS</a:t>
            </a:r>
            <a:endParaRPr lang="en-US" altLang="en-US" sz="1800" b="1" dirty="0"/>
          </a:p>
        </p:txBody>
      </p:sp>
      <p:sp>
        <p:nvSpPr>
          <p:cNvPr id="25606" name="Rectangle 7"/>
          <p:cNvSpPr>
            <a:spLocks noChangeArrowheads="1"/>
          </p:cNvSpPr>
          <p:nvPr/>
        </p:nvSpPr>
        <p:spPr bwMode="auto">
          <a:xfrm>
            <a:off x="2514599" y="1295400"/>
            <a:ext cx="2252679" cy="925289"/>
          </a:xfrm>
          <a:prstGeom prst="rect">
            <a:avLst/>
          </a:pr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MCP WITHOUT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LING 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TANKS</a:t>
            </a:r>
            <a:endParaRPr lang="en-US" altLang="en-US" sz="1800" b="1" dirty="0"/>
          </a:p>
        </p:txBody>
      </p:sp>
      <p:sp>
        <p:nvSpPr>
          <p:cNvPr id="25607" name="Rectangle 8"/>
          <p:cNvSpPr>
            <a:spLocks noChangeArrowheads="1"/>
          </p:cNvSpPr>
          <p:nvPr/>
        </p:nvSpPr>
        <p:spPr bwMode="auto">
          <a:xfrm>
            <a:off x="5232400" y="1295400"/>
            <a:ext cx="1739900" cy="914400"/>
          </a:xfrm>
          <a:prstGeom prst="rect">
            <a:avLst/>
          </a:pr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LING A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PERATIVE</a:t>
            </a:r>
            <a:endParaRPr lang="en-US" altLang="en-US" sz="1800" b="1" dirty="0"/>
          </a:p>
        </p:txBody>
      </p:sp>
      <p:sp>
        <p:nvSpPr>
          <p:cNvPr id="25611" name="AutoShape 12"/>
          <p:cNvSpPr>
            <a:spLocks noChangeArrowheads="1"/>
          </p:cNvSpPr>
          <p:nvPr/>
        </p:nvSpPr>
        <p:spPr bwMode="auto">
          <a:xfrm>
            <a:off x="1828800" y="1600200"/>
            <a:ext cx="609600" cy="381000"/>
          </a:xfrm>
          <a:prstGeom prst="rightArrow">
            <a:avLst>
              <a:gd name="adj1" fmla="val 50000"/>
              <a:gd name="adj2" fmla="val 40000"/>
            </a:avLst>
          </a:pr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sp>
        <p:nvSpPr>
          <p:cNvPr id="25615" name="AutoShape 16"/>
          <p:cNvSpPr>
            <a:spLocks noChangeArrowheads="1"/>
          </p:cNvSpPr>
          <p:nvPr/>
        </p:nvSpPr>
        <p:spPr bwMode="auto">
          <a:xfrm>
            <a:off x="4876906" y="3777344"/>
            <a:ext cx="2133494" cy="457200"/>
          </a:xfrm>
          <a:prstGeom prst="rightArrow">
            <a:avLst>
              <a:gd name="adj1" fmla="val 50000"/>
              <a:gd name="adj2" fmla="val 41667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sp>
        <p:nvSpPr>
          <p:cNvPr id="25631" name="Text Box 33"/>
          <p:cNvSpPr txBox="1">
            <a:spLocks noChangeArrowheads="1"/>
          </p:cNvSpPr>
          <p:nvPr/>
        </p:nvSpPr>
        <p:spPr bwMode="auto">
          <a:xfrm>
            <a:off x="2353509" y="414338"/>
            <a:ext cx="41601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3600" b="1" dirty="0"/>
              <a:t>M</a:t>
            </a:r>
            <a:r>
              <a:rPr lang="en-US" altLang="en-US" sz="3600" b="1" dirty="0" smtClean="0"/>
              <a:t>ilk </a:t>
            </a:r>
            <a:r>
              <a:rPr lang="en-US" altLang="en-US" sz="3600" b="1" dirty="0"/>
              <a:t>S</a:t>
            </a:r>
            <a:r>
              <a:rPr lang="en-US" altLang="en-US" sz="3600" b="1" dirty="0" smtClean="0"/>
              <a:t>upply </a:t>
            </a:r>
            <a:r>
              <a:rPr lang="en-US" altLang="en-US" sz="3600" b="1" dirty="0"/>
              <a:t>C</a:t>
            </a:r>
            <a:r>
              <a:rPr lang="en-US" altLang="en-US" sz="3600" b="1" dirty="0" smtClean="0"/>
              <a:t>hain</a:t>
            </a:r>
            <a:endParaRPr lang="en-US" altLang="en-US" sz="3600" b="1" dirty="0"/>
          </a:p>
        </p:txBody>
      </p:sp>
      <p:sp>
        <p:nvSpPr>
          <p:cNvPr id="37" name="Oval 30"/>
          <p:cNvSpPr>
            <a:spLocks noChangeArrowheads="1"/>
          </p:cNvSpPr>
          <p:nvPr/>
        </p:nvSpPr>
        <p:spPr bwMode="auto">
          <a:xfrm>
            <a:off x="7505700" y="3276600"/>
            <a:ext cx="1524000" cy="12192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solidFill>
                  <a:schemeClr val="bg1"/>
                </a:solidFill>
              </a:rPr>
              <a:t>INDUSTRY</a:t>
            </a:r>
            <a:endParaRPr lang="en-US" altLang="en-US" sz="1800" b="1" dirty="0">
              <a:solidFill>
                <a:schemeClr val="bg1"/>
              </a:solidFill>
            </a:endParaRPr>
          </a:p>
        </p:txBody>
      </p:sp>
      <p:sp>
        <p:nvSpPr>
          <p:cNvPr id="35" name="AutoShape 17"/>
          <p:cNvSpPr>
            <a:spLocks noChangeArrowheads="1"/>
          </p:cNvSpPr>
          <p:nvPr/>
        </p:nvSpPr>
        <p:spPr bwMode="auto">
          <a:xfrm flipV="1">
            <a:off x="7226232" y="1379946"/>
            <a:ext cx="1505751" cy="77724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153628725 h 21600"/>
              <a:gd name="T4" fmla="*/ 0 w 21600"/>
              <a:gd name="T5" fmla="*/ 384092990 h 21600"/>
              <a:gd name="T6" fmla="*/ 2147483647 w 21600"/>
              <a:gd name="T7" fmla="*/ 460886175 h 21600"/>
              <a:gd name="T8" fmla="*/ 2147483647 w 21600"/>
              <a:gd name="T9" fmla="*/ 320059844 h 21600"/>
              <a:gd name="T10" fmla="*/ 2147483647 w 21600"/>
              <a:gd name="T11" fmla="*/ 153628725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2509157" y="2377440"/>
            <a:ext cx="2258122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MCP WIT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LING TANKS </a:t>
            </a:r>
            <a:endParaRPr lang="en-US" altLang="en-US" sz="1800" b="1" dirty="0"/>
          </a:p>
        </p:txBody>
      </p:sp>
      <p:sp>
        <p:nvSpPr>
          <p:cNvPr id="38" name="AutoShape 17"/>
          <p:cNvSpPr>
            <a:spLocks noChangeArrowheads="1"/>
          </p:cNvSpPr>
          <p:nvPr/>
        </p:nvSpPr>
        <p:spPr bwMode="auto">
          <a:xfrm flipV="1">
            <a:off x="7277100" y="2474686"/>
            <a:ext cx="1505751" cy="77724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153628725 h 21600"/>
              <a:gd name="T4" fmla="*/ 0 w 21600"/>
              <a:gd name="T5" fmla="*/ 384092990 h 21600"/>
              <a:gd name="T6" fmla="*/ 2147483647 w 21600"/>
              <a:gd name="T7" fmla="*/ 460886175 h 21600"/>
              <a:gd name="T8" fmla="*/ 2147483647 w 21600"/>
              <a:gd name="T9" fmla="*/ 320059844 h 21600"/>
              <a:gd name="T10" fmla="*/ 2147483647 w 21600"/>
              <a:gd name="T11" fmla="*/ 153628725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rgbClr val="0070C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5270500" y="2362200"/>
            <a:ext cx="1739900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/>
              <a:t>COOPERATIVE</a:t>
            </a:r>
            <a:endParaRPr lang="en-US" altLang="en-US" sz="1800" b="1" dirty="0"/>
          </a:p>
        </p:txBody>
      </p:sp>
      <p:sp>
        <p:nvSpPr>
          <p:cNvPr id="3" name="Rectangle 2"/>
          <p:cNvSpPr/>
          <p:nvPr/>
        </p:nvSpPr>
        <p:spPr>
          <a:xfrm>
            <a:off x="228600" y="2220689"/>
            <a:ext cx="228600" cy="410391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9" name="AutoShape 16"/>
          <p:cNvSpPr>
            <a:spLocks noChangeArrowheads="1"/>
          </p:cNvSpPr>
          <p:nvPr/>
        </p:nvSpPr>
        <p:spPr bwMode="auto">
          <a:xfrm>
            <a:off x="4835071" y="1539966"/>
            <a:ext cx="381000" cy="457200"/>
          </a:xfrm>
          <a:prstGeom prst="rightArrow">
            <a:avLst>
              <a:gd name="adj1" fmla="val 50000"/>
              <a:gd name="adj2" fmla="val 41667"/>
            </a:avLst>
          </a:prstGeom>
          <a:solidFill>
            <a:srgbClr val="E3931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sp>
        <p:nvSpPr>
          <p:cNvPr id="50" name="AutoShape 16"/>
          <p:cNvSpPr>
            <a:spLocks noChangeArrowheads="1"/>
          </p:cNvSpPr>
          <p:nvPr/>
        </p:nvSpPr>
        <p:spPr bwMode="auto">
          <a:xfrm>
            <a:off x="4876800" y="2634706"/>
            <a:ext cx="381000" cy="457200"/>
          </a:xfrm>
          <a:prstGeom prst="rightArrow">
            <a:avLst>
              <a:gd name="adj1" fmla="val 50000"/>
              <a:gd name="adj2" fmla="val 41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sp>
        <p:nvSpPr>
          <p:cNvPr id="54" name="Bent-Up Arrow 53"/>
          <p:cNvSpPr/>
          <p:nvPr/>
        </p:nvSpPr>
        <p:spPr>
          <a:xfrm rot="5400000">
            <a:off x="1167493" y="2185307"/>
            <a:ext cx="1017814" cy="1066800"/>
          </a:xfrm>
          <a:prstGeom prst="bentUpArrow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5" name="Bent-Up Arrow 54"/>
          <p:cNvSpPr/>
          <p:nvPr/>
        </p:nvSpPr>
        <p:spPr>
          <a:xfrm>
            <a:off x="457200" y="5257800"/>
            <a:ext cx="8153400" cy="1066800"/>
          </a:xfrm>
          <a:prstGeom prst="bentUpArrow">
            <a:avLst/>
          </a:prstGeom>
          <a:solidFill>
            <a:srgbClr val="C00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6" name="Bent-Up Arrow 55"/>
          <p:cNvSpPr/>
          <p:nvPr/>
        </p:nvSpPr>
        <p:spPr>
          <a:xfrm rot="5400000">
            <a:off x="436716" y="2368551"/>
            <a:ext cx="2046511" cy="1750787"/>
          </a:xfrm>
          <a:prstGeom prst="bentUpArrow">
            <a:avLst>
              <a:gd name="adj1" fmla="val 15052"/>
              <a:gd name="adj2" fmla="val 14638"/>
              <a:gd name="adj3" fmla="val 26658"/>
            </a:avLst>
          </a:prstGeom>
          <a:solidFill>
            <a:schemeClr val="accent3">
              <a:lumMod val="7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20" name="Picture 4" descr="E:\01. Akhmad - DDP\50. Stocks Pictures\50.2 Lembang by Josh\N37A0251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4495801"/>
            <a:ext cx="1866965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4495800"/>
            <a:ext cx="1968430" cy="129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4495800"/>
            <a:ext cx="1827441" cy="129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041" y="4506687"/>
            <a:ext cx="1609753" cy="1191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10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6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6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6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6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56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6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60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60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60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60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6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animBg="1"/>
      <p:bldP spid="25605" grpId="0" animBg="1"/>
      <p:bldP spid="25606" grpId="0" animBg="1"/>
      <p:bldP spid="25607" grpId="0" animBg="1"/>
      <p:bldP spid="25611" grpId="0" animBg="1"/>
      <p:bldP spid="25615" grpId="0" animBg="1"/>
      <p:bldP spid="37" grpId="0" animBg="1"/>
      <p:bldP spid="35" grpId="0" animBg="1"/>
      <p:bldP spid="36" grpId="0" animBg="1"/>
      <p:bldP spid="38" grpId="0" animBg="1"/>
      <p:bldP spid="41" grpId="0" animBg="1"/>
      <p:bldP spid="3" grpId="0" animBg="1"/>
      <p:bldP spid="49" grpId="0" animBg="1"/>
      <p:bldP spid="50" grpId="0" animBg="1"/>
      <p:bldP spid="54" grpId="0" animBg="1"/>
      <p:bldP spid="55" grpId="0" animBg="1"/>
      <p:bldP spid="5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5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808" y="5260429"/>
            <a:ext cx="1757566" cy="12649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6" name="Picture 6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64" y="5289004"/>
            <a:ext cx="1800756" cy="123634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7" name="Picture 7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52" y="1412776"/>
            <a:ext cx="1584176" cy="11521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823" y="1556792"/>
            <a:ext cx="1560173" cy="10801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761456" y="260648"/>
            <a:ext cx="6696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kern="0" dirty="0" smtClean="0">
                <a:solidFill>
                  <a:schemeClr val="tx2"/>
                </a:solidFill>
                <a:latin typeface="Verdana"/>
                <a:ea typeface="+mj-ea"/>
                <a:cs typeface="+mj-cs"/>
              </a:rPr>
              <a:t> At Farmer Level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294967295"/>
          </p:nvPr>
        </p:nvSpPr>
        <p:spPr>
          <a:xfrm>
            <a:off x="0" y="6408738"/>
            <a:ext cx="809625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073003C-540C-4CAC-AF40-6AC5B0CC0014}" type="slidenum">
              <a:rPr lang="nl-NL" smtClean="0"/>
              <a:pPr>
                <a:defRPr/>
              </a:pPr>
              <a:t>7</a:t>
            </a:fld>
            <a:endParaRPr lang="nl-NL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15200917"/>
              </p:ext>
            </p:extLst>
          </p:nvPr>
        </p:nvGraphicFramePr>
        <p:xfrm>
          <a:off x="-180528" y="1916832"/>
          <a:ext cx="5976664" cy="3976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4" name="Oval 23"/>
          <p:cNvSpPr/>
          <p:nvPr/>
        </p:nvSpPr>
        <p:spPr bwMode="gray">
          <a:xfrm>
            <a:off x="1973805" y="2703013"/>
            <a:ext cx="293939" cy="293939"/>
          </a:xfrm>
          <a:prstGeom prst="ellipse">
            <a:avLst/>
          </a:prstGeom>
          <a:solidFill>
            <a:srgbClr val="A3E3FF"/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wrap="none" lIns="45720" tIns="0" rIns="4572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5D5E6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5" name="Oval 24"/>
          <p:cNvSpPr/>
          <p:nvPr/>
        </p:nvSpPr>
        <p:spPr bwMode="gray">
          <a:xfrm>
            <a:off x="3210662" y="2703013"/>
            <a:ext cx="293939" cy="293939"/>
          </a:xfrm>
          <a:prstGeom prst="ellipse">
            <a:avLst/>
          </a:prstGeom>
          <a:solidFill>
            <a:srgbClr val="A3E3FF"/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wrap="none" lIns="45720" tIns="0" rIns="4572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5D5E6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6" name="Oval 25"/>
          <p:cNvSpPr/>
          <p:nvPr/>
        </p:nvSpPr>
        <p:spPr bwMode="gray">
          <a:xfrm>
            <a:off x="1901797" y="4791245"/>
            <a:ext cx="293939" cy="293939"/>
          </a:xfrm>
          <a:prstGeom prst="ellipse">
            <a:avLst/>
          </a:prstGeom>
          <a:solidFill>
            <a:srgbClr val="A3E3FF"/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wrap="none" lIns="45720" tIns="0" rIns="4572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5D5E6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7" name="Oval 26"/>
          <p:cNvSpPr/>
          <p:nvPr/>
        </p:nvSpPr>
        <p:spPr bwMode="gray">
          <a:xfrm>
            <a:off x="3203848" y="4791245"/>
            <a:ext cx="293939" cy="293939"/>
          </a:xfrm>
          <a:prstGeom prst="ellipse">
            <a:avLst/>
          </a:prstGeom>
          <a:solidFill>
            <a:srgbClr val="A3E3FF"/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wrap="none" lIns="45720" tIns="0" rIns="4572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5D5E61"/>
                </a:solidFill>
                <a:cs typeface="Arial" pitchFamily="34" charset="0"/>
              </a:rPr>
              <a:t>2</a:t>
            </a:r>
            <a:endParaRPr lang="en-US" sz="1200" b="1" dirty="0">
              <a:solidFill>
                <a:srgbClr val="5D5E61"/>
              </a:solidFill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12160" y="1556792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1. DON’T WASHING COWS  BEFORE MILKING (DRY MILKING)</a:t>
            </a:r>
            <a:endParaRPr 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6084168" y="3645024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2. SHORT MILK CHAI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15894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9" descr="Logo Pulse simplifi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322" y="70144"/>
            <a:ext cx="776078" cy="756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411413" y="283884"/>
            <a:ext cx="5589587" cy="401916"/>
          </a:xfrm>
        </p:spPr>
        <p:txBody>
          <a:bodyPr/>
          <a:lstStyle/>
          <a:p>
            <a:r>
              <a:rPr lang="nl-NL" sz="2400" dirty="0" smtClean="0"/>
              <a:t>DDP </a:t>
            </a:r>
            <a:r>
              <a:rPr lang="nl-NL" sz="2400" dirty="0"/>
              <a:t>Strategy Pillars &amp; </a:t>
            </a:r>
            <a:r>
              <a:rPr lang="nl-NL" sz="2400" dirty="0" smtClean="0"/>
              <a:t>Initiatives</a:t>
            </a:r>
            <a:endParaRPr lang="en-GB" sz="2400" dirty="0"/>
          </a:p>
        </p:txBody>
      </p:sp>
      <p:sp>
        <p:nvSpPr>
          <p:cNvPr id="6" name="Titel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04800" y="990600"/>
            <a:ext cx="85344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n-US" sz="3200" b="1" dirty="0" smtClean="0">
                <a:solidFill>
                  <a:srgbClr val="00B0F0"/>
                </a:solidFill>
                <a:latin typeface="Calibri"/>
                <a:cs typeface="Calibri"/>
              </a:rPr>
              <a:t>“Less &amp; Better” </a:t>
            </a:r>
            <a:r>
              <a:rPr lang="en-US" sz="1800" dirty="0" smtClean="0">
                <a:solidFill>
                  <a:srgbClr val="C00000"/>
                </a:solidFill>
                <a:latin typeface="Verdana" pitchFamily="34" charset="0"/>
              </a:rPr>
              <a:t>: </a:t>
            </a:r>
            <a:r>
              <a:rPr lang="en-US" sz="1800" dirty="0">
                <a:solidFill>
                  <a:srgbClr val="C00000"/>
                </a:solidFill>
                <a:latin typeface="Verdana" pitchFamily="34" charset="0"/>
              </a:rPr>
              <a:t>Substantially improve the milk quality, through optimization of the network and upgrade of the quality of the </a:t>
            </a:r>
            <a:r>
              <a:rPr lang="en-US" sz="2000" b="1" i="1" dirty="0">
                <a:solidFill>
                  <a:srgbClr val="00B050"/>
                </a:solidFill>
                <a:latin typeface="Verdana" pitchFamily="34" charset="0"/>
              </a:rPr>
              <a:t>Milk Collection Point’s (MCP’s)</a:t>
            </a:r>
            <a:r>
              <a:rPr lang="en-US" sz="1800" dirty="0">
                <a:solidFill>
                  <a:srgbClr val="C00000"/>
                </a:solidFill>
                <a:latin typeface="Verdana" pitchFamily="34" charset="0"/>
              </a:rPr>
              <a:t>, in combination with improved management capabilities </a:t>
            </a:r>
            <a:r>
              <a:rPr lang="en-US" sz="1800" dirty="0" smtClean="0">
                <a:solidFill>
                  <a:srgbClr val="002060"/>
                </a:solidFill>
                <a:latin typeface="Verdana" pitchFamily="34" charset="0"/>
                <a:sym typeface="Wingdings" panose="05000000000000000000" pitchFamily="2" charset="2"/>
              </a:rPr>
              <a:t> 7 MCPs already operational at cooperative </a:t>
            </a:r>
            <a:r>
              <a:rPr lang="en-US" sz="1800" dirty="0" err="1" smtClean="0">
                <a:solidFill>
                  <a:srgbClr val="002060"/>
                </a:solidFill>
                <a:latin typeface="Verdana" pitchFamily="34" charset="0"/>
                <a:sym typeface="Wingdings" panose="05000000000000000000" pitchFamily="2" charset="2"/>
              </a:rPr>
              <a:t>Pangalengan</a:t>
            </a:r>
            <a:r>
              <a:rPr lang="en-US" sz="1800" dirty="0" smtClean="0">
                <a:solidFill>
                  <a:srgbClr val="002060"/>
                </a:solidFill>
                <a:latin typeface="Verdana" pitchFamily="34" charset="0"/>
                <a:sym typeface="Wingdings" panose="05000000000000000000" pitchFamily="2" charset="2"/>
              </a:rPr>
              <a:t>, involved 1000 local farmers</a:t>
            </a:r>
            <a:endParaRPr lang="en-US" sz="1800" dirty="0">
              <a:solidFill>
                <a:srgbClr val="002060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262358"/>
            <a:ext cx="1646553" cy="569054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for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020235"/>
            <a:ext cx="1646553" cy="502658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ter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2956811"/>
            <a:ext cx="1516183" cy="991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E:\01. Akhmad - DDP\01. FDOV Project\01.5 MCP\01.5.6 Preparation for Go Live\IMG_20150326_180734.jpg">
            <a:hlinkClick r:id="rId5" action="ppaction://hlinkfile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328" y="4710843"/>
            <a:ext cx="1509256" cy="1162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2966641"/>
            <a:ext cx="1512718" cy="981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1" y="2959714"/>
            <a:ext cx="1447800" cy="988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val 13"/>
          <p:cNvSpPr/>
          <p:nvPr/>
        </p:nvSpPr>
        <p:spPr>
          <a:xfrm>
            <a:off x="2133600" y="3982415"/>
            <a:ext cx="586424" cy="538609"/>
          </a:xfrm>
          <a:prstGeom prst="ellipse">
            <a:avLst/>
          </a:prstGeom>
          <a:solidFill>
            <a:srgbClr val="FFC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5" name="Oval 14"/>
          <p:cNvSpPr/>
          <p:nvPr/>
        </p:nvSpPr>
        <p:spPr>
          <a:xfrm>
            <a:off x="3657600" y="4033790"/>
            <a:ext cx="586424" cy="538609"/>
          </a:xfrm>
          <a:prstGeom prst="ellipse">
            <a:avLst/>
          </a:prstGeom>
          <a:solidFill>
            <a:srgbClr val="00B0F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6" name="Oval 15"/>
          <p:cNvSpPr/>
          <p:nvPr/>
        </p:nvSpPr>
        <p:spPr>
          <a:xfrm>
            <a:off x="5257800" y="4033790"/>
            <a:ext cx="586424" cy="538609"/>
          </a:xfrm>
          <a:prstGeom prst="ellipse">
            <a:avLst/>
          </a:prstGeom>
          <a:solidFill>
            <a:srgbClr val="CC0066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676400" y="2423410"/>
            <a:ext cx="1415231" cy="399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Los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Cimaung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309169" y="2423410"/>
            <a:ext cx="1415231" cy="399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Warna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 Sari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909369" y="2423410"/>
            <a:ext cx="1415231" cy="399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Cipanas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913" y="2956810"/>
            <a:ext cx="1295174" cy="991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91" y="2962276"/>
            <a:ext cx="1314509" cy="98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itle 1"/>
          <p:cNvSpPr txBox="1">
            <a:spLocks/>
          </p:cNvSpPr>
          <p:nvPr/>
        </p:nvSpPr>
        <p:spPr>
          <a:xfrm>
            <a:off x="6381884" y="2423410"/>
            <a:ext cx="1415231" cy="399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Citere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797115" y="2404516"/>
            <a:ext cx="1415231" cy="399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600" kern="1200" baseline="0">
                <a:solidFill>
                  <a:schemeClr val="accent1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Mekar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Mulya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728776" y="4033790"/>
            <a:ext cx="586424" cy="538609"/>
          </a:xfrm>
          <a:prstGeom prst="ellipse">
            <a:avLst/>
          </a:prstGeom>
          <a:solidFill>
            <a:srgbClr val="CC33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7" name="Oval 26"/>
          <p:cNvSpPr/>
          <p:nvPr/>
        </p:nvSpPr>
        <p:spPr>
          <a:xfrm>
            <a:off x="8193533" y="4007132"/>
            <a:ext cx="586424" cy="538609"/>
          </a:xfrm>
          <a:prstGeom prst="ellipse">
            <a:avLst/>
          </a:prstGeom>
          <a:solidFill>
            <a:srgbClr val="6699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pic>
        <p:nvPicPr>
          <p:cNvPr id="31" name="Picture 2">
            <a:hlinkClick r:id="rId11" action="ppaction://hlinkfile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5" y="6375272"/>
            <a:ext cx="699775" cy="465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4648200"/>
            <a:ext cx="1524000" cy="1224815"/>
          </a:xfrm>
          <a:prstGeom prst="rect">
            <a:avLst/>
          </a:prstGeom>
        </p:spPr>
      </p:pic>
      <p:pic>
        <p:nvPicPr>
          <p:cNvPr id="33" name="Picture 2" descr="C:\Users\Nurhat01\Documents\My Bluetooth\IMG-20170301-WA0005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4710843"/>
            <a:ext cx="1643831" cy="1162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4710844"/>
            <a:ext cx="1374925" cy="1193050"/>
          </a:xfrm>
          <a:prstGeom prst="rect">
            <a:avLst/>
          </a:prstGeom>
        </p:spPr>
      </p:pic>
      <p:pic>
        <p:nvPicPr>
          <p:cNvPr id="35" name="Picture 6" descr="C:\Users\Nurhat01\Desktop\IMG-20170203-WA0015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628" y="4689279"/>
            <a:ext cx="1360371" cy="1214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741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9" descr="Logo Pulse simplifi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322" y="70144"/>
            <a:ext cx="776078" cy="756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411413" y="283884"/>
            <a:ext cx="5589587" cy="401916"/>
          </a:xfrm>
        </p:spPr>
        <p:txBody>
          <a:bodyPr/>
          <a:lstStyle/>
          <a:p>
            <a:r>
              <a:rPr lang="nl-NL" sz="2400" dirty="0" smtClean="0"/>
              <a:t>DDP </a:t>
            </a:r>
            <a:r>
              <a:rPr lang="nl-NL" sz="2400" dirty="0"/>
              <a:t>Strategy Pillars &amp; </a:t>
            </a:r>
            <a:r>
              <a:rPr lang="nl-NL" sz="2400" dirty="0" smtClean="0"/>
              <a:t>Initiatives</a:t>
            </a:r>
            <a:endParaRPr lang="en-GB" sz="2400" dirty="0"/>
          </a:p>
        </p:txBody>
      </p:sp>
      <p:sp>
        <p:nvSpPr>
          <p:cNvPr id="6" name="Titel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04800" y="914400"/>
            <a:ext cx="8534400" cy="1066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n-US" sz="3200" b="1" dirty="0" smtClean="0">
                <a:solidFill>
                  <a:srgbClr val="00B0F0"/>
                </a:solidFill>
                <a:latin typeface="Calibri"/>
                <a:cs typeface="Calibri"/>
              </a:rPr>
              <a:t>“Result of the Programs” </a:t>
            </a:r>
            <a:r>
              <a:rPr lang="en-US" sz="1800" dirty="0" smtClean="0">
                <a:solidFill>
                  <a:srgbClr val="C00000"/>
                </a:solidFill>
                <a:latin typeface="Verdana" pitchFamily="34" charset="0"/>
              </a:rPr>
              <a:t>: after implemented those initiatives, quality TPC of fresh milk from KPBS </a:t>
            </a:r>
            <a:r>
              <a:rPr lang="en-US" sz="1800" dirty="0" err="1" smtClean="0">
                <a:solidFill>
                  <a:srgbClr val="C00000"/>
                </a:solidFill>
                <a:latin typeface="Verdana" pitchFamily="34" charset="0"/>
              </a:rPr>
              <a:t>Pangalengan</a:t>
            </a:r>
            <a:r>
              <a:rPr lang="en-US" sz="1800" dirty="0" smtClean="0">
                <a:solidFill>
                  <a:srgbClr val="C00000"/>
                </a:solidFill>
                <a:latin typeface="Verdana" pitchFamily="34" charset="0"/>
              </a:rPr>
              <a:t> was </a:t>
            </a:r>
            <a:r>
              <a:rPr lang="en-US" sz="1800" dirty="0">
                <a:solidFill>
                  <a:srgbClr val="C00000"/>
                </a:solidFill>
                <a:latin typeface="Verdana" pitchFamily="34" charset="0"/>
              </a:rPr>
              <a:t>improved tremendously </a:t>
            </a:r>
            <a:r>
              <a:rPr lang="en-US" sz="2000" dirty="0" smtClean="0">
                <a:solidFill>
                  <a:srgbClr val="00B050"/>
                </a:solidFill>
                <a:latin typeface="Verdana" pitchFamily="34" charset="0"/>
              </a:rPr>
              <a:t>from 4.5 </a:t>
            </a:r>
            <a:r>
              <a:rPr lang="en-US" sz="2000" dirty="0" err="1" smtClean="0">
                <a:solidFill>
                  <a:srgbClr val="00B050"/>
                </a:solidFill>
                <a:latin typeface="Verdana" pitchFamily="34" charset="0"/>
              </a:rPr>
              <a:t>mio</a:t>
            </a:r>
            <a:r>
              <a:rPr lang="en-US" sz="2000" dirty="0" smtClean="0">
                <a:solidFill>
                  <a:srgbClr val="00B050"/>
                </a:solidFill>
                <a:latin typeface="Verdana" pitchFamily="34" charset="0"/>
              </a:rPr>
              <a:t> </a:t>
            </a:r>
            <a:r>
              <a:rPr lang="en-US" sz="2000" dirty="0" err="1" smtClean="0">
                <a:solidFill>
                  <a:srgbClr val="00B050"/>
                </a:solidFill>
                <a:latin typeface="Verdana" pitchFamily="34" charset="0"/>
              </a:rPr>
              <a:t>cfu</a:t>
            </a:r>
            <a:r>
              <a:rPr lang="en-US" sz="2000" dirty="0" smtClean="0">
                <a:solidFill>
                  <a:srgbClr val="00B050"/>
                </a:solidFill>
                <a:latin typeface="Verdana" pitchFamily="34" charset="0"/>
              </a:rPr>
              <a:t>/ml to &lt; 0.5 </a:t>
            </a:r>
            <a:r>
              <a:rPr lang="en-US" sz="2000" dirty="0" err="1" smtClean="0">
                <a:solidFill>
                  <a:srgbClr val="00B050"/>
                </a:solidFill>
                <a:latin typeface="Verdana" pitchFamily="34" charset="0"/>
              </a:rPr>
              <a:t>mio</a:t>
            </a:r>
            <a:r>
              <a:rPr lang="en-US" sz="2000" dirty="0" smtClean="0">
                <a:solidFill>
                  <a:srgbClr val="00B050"/>
                </a:solidFill>
                <a:latin typeface="Verdana" pitchFamily="34" charset="0"/>
              </a:rPr>
              <a:t> </a:t>
            </a:r>
            <a:r>
              <a:rPr lang="en-US" sz="2000" dirty="0" err="1" smtClean="0">
                <a:solidFill>
                  <a:srgbClr val="00B050"/>
                </a:solidFill>
                <a:latin typeface="Verdana" pitchFamily="34" charset="0"/>
              </a:rPr>
              <a:t>cfu</a:t>
            </a:r>
            <a:r>
              <a:rPr lang="en-US" sz="2000" dirty="0" smtClean="0">
                <a:solidFill>
                  <a:srgbClr val="00B050"/>
                </a:solidFill>
                <a:latin typeface="Verdana" pitchFamily="34" charset="0"/>
              </a:rPr>
              <a:t>/ml</a:t>
            </a:r>
            <a:endParaRPr lang="en-US" sz="2000" dirty="0">
              <a:solidFill>
                <a:srgbClr val="00B050"/>
              </a:solidFill>
              <a:latin typeface="Verdana" pitchFamily="34" charset="0"/>
            </a:endParaRPr>
          </a:p>
        </p:txBody>
      </p:sp>
      <p:pic>
        <p:nvPicPr>
          <p:cNvPr id="829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513" y="2057400"/>
            <a:ext cx="7546975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228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CCAoyGXEKHdMlzoxhK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Yo4NAEP0Oup8O45w7_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JPgFOlEeaUjXxGWHd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AIDYT_ZUiXKovQLID7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McG4T1TEqurBuDIeQ4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NT4LeWfUmyAR.aXqWd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JPgFOlEeaUjXxGWHd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CCAoyGXEKHdMlzoxhK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McG4T1TEqurBuDIeQ4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CCAoyGXEKHdMlzoxhK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McG4T1TEqurBuDIeQ4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NT4LeWfUmyAR.aXqWd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CCAoyGXEKHdMlzoxhK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JPgFOlEeaUjXxGWHd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JPgFOlEeaUjXxGWHd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JPgFOlEeaUjXxGWHd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McG4T1TEqurBuDIeQ4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nH7XkxV0qFoEvB96eB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62zFYEZkCSquzsUg2p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0QRa2JCE6vfB5oycXN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idITzPxUu9MNH_FD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A9Rsuvh02k1CBneSMS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suLxWAwk2pIRAmsS9V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suLxWAwk2pIRAmsS9V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NT4LeWfUmyAR.aXqWd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CCAoyGXEKHdMlzoxhK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hlDa.EOU2zyJqAity7rQ"/>
</p:tagLst>
</file>

<file path=ppt/theme/theme1.xml><?xml version="1.0" encoding="utf-8"?>
<a:theme xmlns:a="http://schemas.openxmlformats.org/drawingml/2006/main" name="FrieslandCampina normal 4x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20000"/>
            <a:lumOff val="80000"/>
          </a:schemeClr>
        </a:solidFill>
        <a:ln w="19050" algn="ctr">
          <a:noFill/>
          <a:miter lim="800000"/>
          <a:headEnd type="none" w="lg" len="lg"/>
          <a:tailEnd type="none" w="lg" len="lg"/>
        </a:ln>
        <a:effectLst/>
      </a:spPr>
      <a:bodyPr wrap="square" lIns="45720" tIns="0" rIns="45720" bIns="0" anchor="ctr" anchorCtr="0">
        <a:noAutofit/>
      </a:bodyPr>
      <a:lstStyle>
        <a:defPPr>
          <a:defRPr sz="1200" b="1" dirty="0">
            <a:solidFill>
              <a:schemeClr val="tx1"/>
            </a:solidFill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altLang="en-US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1_FrieslandCampina NBN Document">
  <a:themeElements>
    <a:clrScheme name="RFC PPT color scheme">
      <a:dk1>
        <a:srgbClr val="3F4043"/>
      </a:dk1>
      <a:lt1>
        <a:srgbClr val="FFFFFF"/>
      </a:lt1>
      <a:dk2>
        <a:srgbClr val="3F4043"/>
      </a:dk2>
      <a:lt2>
        <a:srgbClr val="FFFFFF"/>
      </a:lt2>
      <a:accent1>
        <a:srgbClr val="0094D9"/>
      </a:accent1>
      <a:accent2>
        <a:srgbClr val="39B54A"/>
      </a:accent2>
      <a:accent3>
        <a:srgbClr val="D7DF23"/>
      </a:accent3>
      <a:accent4>
        <a:srgbClr val="EC008C"/>
      </a:accent4>
      <a:accent5>
        <a:srgbClr val="ED1C24"/>
      </a:accent5>
      <a:accent6>
        <a:srgbClr val="F7931E"/>
      </a:accent6>
      <a:hlink>
        <a:srgbClr val="EC008C"/>
      </a:hlink>
      <a:folHlink>
        <a:srgbClr val="D7D8DA"/>
      </a:folHlink>
    </a:clrScheme>
    <a:fontScheme name="FrieslandCampi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2_FrieslandCampina normal 4x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20000"/>
            <a:lumOff val="80000"/>
          </a:schemeClr>
        </a:solidFill>
        <a:ln w="19050" algn="ctr">
          <a:noFill/>
          <a:miter lim="800000"/>
          <a:headEnd type="none" w="lg" len="lg"/>
          <a:tailEnd type="none" w="lg" len="lg"/>
        </a:ln>
        <a:effectLst/>
      </a:spPr>
      <a:bodyPr wrap="square" lIns="45720" tIns="0" rIns="45720" bIns="0" anchor="ctr" anchorCtr="0">
        <a:noAutofit/>
      </a:bodyPr>
      <a:lstStyle>
        <a:defPPr>
          <a:defRPr sz="1200" b="1" dirty="0">
            <a:solidFill>
              <a:schemeClr val="tx1"/>
            </a:solidFill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altLang="en-US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FrieslandCampina normal 4x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20000"/>
            <a:lumOff val="80000"/>
          </a:schemeClr>
        </a:solidFill>
        <a:ln w="19050" algn="ctr">
          <a:noFill/>
          <a:miter lim="800000"/>
          <a:headEnd type="none" w="lg" len="lg"/>
          <a:tailEnd type="none" w="lg" len="lg"/>
        </a:ln>
        <a:effectLst/>
      </a:spPr>
      <a:bodyPr wrap="square" lIns="45720" tIns="0" rIns="45720" bIns="0" anchor="ctr" anchorCtr="0">
        <a:noAutofit/>
      </a:bodyPr>
      <a:lstStyle>
        <a:defPPr>
          <a:defRPr sz="1200" b="1" dirty="0">
            <a:solidFill>
              <a:schemeClr val="tx1"/>
            </a:solidFill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altLang="en-US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FrieslandCampina normal 4x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20000"/>
            <a:lumOff val="80000"/>
          </a:schemeClr>
        </a:solidFill>
        <a:ln w="19050" algn="ctr">
          <a:noFill/>
          <a:miter lim="800000"/>
          <a:headEnd type="none" w="lg" len="lg"/>
          <a:tailEnd type="none" w="lg" len="lg"/>
        </a:ln>
        <a:effectLst/>
      </a:spPr>
      <a:bodyPr wrap="square" lIns="45720" tIns="0" rIns="45720" bIns="0" anchor="ctr" anchorCtr="0">
        <a:noAutofit/>
      </a:bodyPr>
      <a:lstStyle>
        <a:defPPr>
          <a:defRPr sz="1200" b="1" dirty="0">
            <a:solidFill>
              <a:schemeClr val="tx1"/>
            </a:solidFill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altLang="en-US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blank">
  <a:themeElements>
    <a:clrScheme name="RFC PPT color scheme">
      <a:dk1>
        <a:srgbClr val="3F4043"/>
      </a:dk1>
      <a:lt1>
        <a:srgbClr val="FFFFFF"/>
      </a:lt1>
      <a:dk2>
        <a:srgbClr val="3F4043"/>
      </a:dk2>
      <a:lt2>
        <a:srgbClr val="FFFFFF"/>
      </a:lt2>
      <a:accent1>
        <a:srgbClr val="0094D9"/>
      </a:accent1>
      <a:accent2>
        <a:srgbClr val="39B54A"/>
      </a:accent2>
      <a:accent3>
        <a:srgbClr val="D7DF23"/>
      </a:accent3>
      <a:accent4>
        <a:srgbClr val="EC008C"/>
      </a:accent4>
      <a:accent5>
        <a:srgbClr val="ED1C24"/>
      </a:accent5>
      <a:accent6>
        <a:srgbClr val="F7931E"/>
      </a:accent6>
      <a:hlink>
        <a:srgbClr val="EC008C"/>
      </a:hlink>
      <a:folHlink>
        <a:srgbClr val="D7D8DA"/>
      </a:folHlink>
    </a:clrScheme>
    <a:fontScheme name="FrieslandCampi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_FrieslandCampina NBN Document">
  <a:themeElements>
    <a:clrScheme name="RFC PPT color scheme">
      <a:dk1>
        <a:srgbClr val="3F4043"/>
      </a:dk1>
      <a:lt1>
        <a:srgbClr val="FFFFFF"/>
      </a:lt1>
      <a:dk2>
        <a:srgbClr val="3F4043"/>
      </a:dk2>
      <a:lt2>
        <a:srgbClr val="FFFFFF"/>
      </a:lt2>
      <a:accent1>
        <a:srgbClr val="0094D9"/>
      </a:accent1>
      <a:accent2>
        <a:srgbClr val="39B54A"/>
      </a:accent2>
      <a:accent3>
        <a:srgbClr val="D7DF23"/>
      </a:accent3>
      <a:accent4>
        <a:srgbClr val="EC008C"/>
      </a:accent4>
      <a:accent5>
        <a:srgbClr val="ED1C24"/>
      </a:accent5>
      <a:accent6>
        <a:srgbClr val="F7931E"/>
      </a:accent6>
      <a:hlink>
        <a:srgbClr val="EC008C"/>
      </a:hlink>
      <a:folHlink>
        <a:srgbClr val="D7D8DA"/>
      </a:folHlink>
    </a:clrScheme>
    <a:fontScheme name="FrieslandCampi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6_Blank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/>
        </a:defPPr>
      </a:lstStyle>
    </a:tx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rieslandCampina normal 4x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20000"/>
            <a:lumOff val="80000"/>
          </a:schemeClr>
        </a:solidFill>
        <a:ln w="19050" algn="ctr">
          <a:noFill/>
          <a:miter lim="800000"/>
          <a:headEnd type="none" w="lg" len="lg"/>
          <a:tailEnd type="none" w="lg" len="lg"/>
        </a:ln>
        <a:effectLst/>
      </a:spPr>
      <a:bodyPr wrap="square" lIns="45720" tIns="0" rIns="45720" bIns="0" anchor="ctr" anchorCtr="0">
        <a:noAutofit/>
      </a:bodyPr>
      <a:lstStyle>
        <a:defPPr>
          <a:defRPr sz="1200" b="1" dirty="0">
            <a:solidFill>
              <a:schemeClr val="tx1"/>
            </a:solidFill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altLang="en-US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G2G presentation - Farm visit 12 May 2013">
  <a:themeElements>
    <a:clrScheme name="FrieslandCampina normal 4x3 1">
      <a:dk1>
        <a:srgbClr val="3F4043"/>
      </a:dk1>
      <a:lt1>
        <a:srgbClr val="FFFFFF"/>
      </a:lt1>
      <a:dk2>
        <a:srgbClr val="0094D9"/>
      </a:dk2>
      <a:lt2>
        <a:srgbClr val="FFFFFF"/>
      </a:lt2>
      <a:accent1>
        <a:srgbClr val="74BDE9"/>
      </a:accent1>
      <a:accent2>
        <a:srgbClr val="39B54A"/>
      </a:accent2>
      <a:accent3>
        <a:srgbClr val="FFFFFF"/>
      </a:accent3>
      <a:accent4>
        <a:srgbClr val="343538"/>
      </a:accent4>
      <a:accent5>
        <a:srgbClr val="BCDBF2"/>
      </a:accent5>
      <a:accent6>
        <a:srgbClr val="33A442"/>
      </a:accent6>
      <a:hlink>
        <a:srgbClr val="EC008C"/>
      </a:hlink>
      <a:folHlink>
        <a:srgbClr val="C0C0C0"/>
      </a:folHlink>
    </a:clrScheme>
    <a:fontScheme name="FrieslandCampina normal 4x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600" b="0" i="0" u="none" strike="noStrike" cap="none" normalizeH="0" baseline="0" smtClean="0">
            <a:ln>
              <a:noFill/>
            </a:ln>
            <a:solidFill>
              <a:srgbClr val="0094D9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/>
        </a:defPPr>
      </a:lstStyle>
    </a:txDef>
  </a:objectDefaults>
  <a:extraClrSchemeLst>
    <a:extraClrScheme>
      <a:clrScheme name="FrieslandCampina normal 4x3 1">
        <a:dk1>
          <a:srgbClr val="3F4043"/>
        </a:dk1>
        <a:lt1>
          <a:srgbClr val="FFFFFF"/>
        </a:lt1>
        <a:dk2>
          <a:srgbClr val="0094D9"/>
        </a:dk2>
        <a:lt2>
          <a:srgbClr val="FFFFFF"/>
        </a:lt2>
        <a:accent1>
          <a:srgbClr val="74BDE9"/>
        </a:accent1>
        <a:accent2>
          <a:srgbClr val="39B54A"/>
        </a:accent2>
        <a:accent3>
          <a:srgbClr val="FFFFFF"/>
        </a:accent3>
        <a:accent4>
          <a:srgbClr val="343538"/>
        </a:accent4>
        <a:accent5>
          <a:srgbClr val="BCDBF2"/>
        </a:accent5>
        <a:accent6>
          <a:srgbClr val="33A442"/>
        </a:accent6>
        <a:hlink>
          <a:srgbClr val="EC008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blank">
  <a:themeElements>
    <a:clrScheme name="RFC PPT color scheme">
      <a:dk1>
        <a:srgbClr val="3F4043"/>
      </a:dk1>
      <a:lt1>
        <a:srgbClr val="FFFFFF"/>
      </a:lt1>
      <a:dk2>
        <a:srgbClr val="3F4043"/>
      </a:dk2>
      <a:lt2>
        <a:srgbClr val="FFFFFF"/>
      </a:lt2>
      <a:accent1>
        <a:srgbClr val="0094D9"/>
      </a:accent1>
      <a:accent2>
        <a:srgbClr val="39B54A"/>
      </a:accent2>
      <a:accent3>
        <a:srgbClr val="D7DF23"/>
      </a:accent3>
      <a:accent4>
        <a:srgbClr val="EC008C"/>
      </a:accent4>
      <a:accent5>
        <a:srgbClr val="ED1C24"/>
      </a:accent5>
      <a:accent6>
        <a:srgbClr val="F7931E"/>
      </a:accent6>
      <a:hlink>
        <a:srgbClr val="EC008C"/>
      </a:hlink>
      <a:folHlink>
        <a:srgbClr val="D7D8DA"/>
      </a:folHlink>
    </a:clrScheme>
    <a:fontScheme name="FrieslandCampi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emplate FrieslandCampina NBN 2015.potx" id="{8E9EF69C-99B9-4F04-BDF4-F3C747299A94}" vid="{97ED613D-9009-4478-8E69-39448CD28956}"/>
    </a:ext>
  </a:extLst>
</a:theme>
</file>

<file path=ppt/theme/theme7.xml><?xml version="1.0" encoding="utf-8"?>
<a:theme xmlns:a="http://schemas.openxmlformats.org/drawingml/2006/main" name="5_Blank">
  <a:themeElements>
    <a:clrScheme name="RFC PPT color scheme">
      <a:dk1>
        <a:srgbClr val="3F4043"/>
      </a:dk1>
      <a:lt1>
        <a:srgbClr val="FFFFFF"/>
      </a:lt1>
      <a:dk2>
        <a:srgbClr val="3F4043"/>
      </a:dk2>
      <a:lt2>
        <a:srgbClr val="FFFFFF"/>
      </a:lt2>
      <a:accent1>
        <a:srgbClr val="0094D9"/>
      </a:accent1>
      <a:accent2>
        <a:srgbClr val="39B54A"/>
      </a:accent2>
      <a:accent3>
        <a:srgbClr val="D7DF23"/>
      </a:accent3>
      <a:accent4>
        <a:srgbClr val="EC008C"/>
      </a:accent4>
      <a:accent5>
        <a:srgbClr val="ED1C24"/>
      </a:accent5>
      <a:accent6>
        <a:srgbClr val="F7931E"/>
      </a:accent6>
      <a:hlink>
        <a:srgbClr val="EC008C"/>
      </a:hlink>
      <a:folHlink>
        <a:srgbClr val="D7D8DA"/>
      </a:folHlink>
    </a:clrScheme>
    <a:fontScheme name="FrieslandCampi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John Nillesen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Delen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40</TotalTime>
  <Words>381</Words>
  <Application>Microsoft Office PowerPoint</Application>
  <PresentationFormat>On-screen Show (4:3)</PresentationFormat>
  <Paragraphs>112</Paragraphs>
  <Slides>14</Slides>
  <Notes>2</Notes>
  <HiddenSlides>2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9" baseType="lpstr">
      <vt:lpstr>FrieslandCampina normal 4x3</vt:lpstr>
      <vt:lpstr>20_FrieslandCampina NBN Document</vt:lpstr>
      <vt:lpstr>6_Blank</vt:lpstr>
      <vt:lpstr>1_FrieslandCampina normal 4x3</vt:lpstr>
      <vt:lpstr>G2G presentation - Farm visit 12 May 2013</vt:lpstr>
      <vt:lpstr>1_blank</vt:lpstr>
      <vt:lpstr>5_Blank</vt:lpstr>
      <vt:lpstr>John Nillesen</vt:lpstr>
      <vt:lpstr>1_Delen</vt:lpstr>
      <vt:lpstr>21_FrieslandCampina NBN Document</vt:lpstr>
      <vt:lpstr>2_FrieslandCampina normal 4x3</vt:lpstr>
      <vt:lpstr>3_FrieslandCampina normal 4x3</vt:lpstr>
      <vt:lpstr>4_FrieslandCampina normal 4x3</vt:lpstr>
      <vt:lpstr>blank</vt:lpstr>
      <vt:lpstr>think-cell Slide</vt:lpstr>
      <vt:lpstr>Fresh Milk Supply Chai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DDP Strategy Pillars &amp; Initiatives</vt:lpstr>
      <vt:lpstr>DDP Strategy Pillars &amp; Initiatives</vt:lpstr>
      <vt:lpstr>PowerPoint Presentation</vt:lpstr>
      <vt:lpstr>PowerPoint Presentation</vt:lpstr>
      <vt:lpstr>PowerPoint Presentation</vt:lpstr>
      <vt:lpstr>PowerPoint Presentation</vt:lpstr>
      <vt:lpstr>Sustainability walfare</vt:lpstr>
    </vt:vector>
  </TitlesOfParts>
  <Company>FrieslandCampi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erakker, Y.M. van de (Yvette)</dc:creator>
  <cp:lastModifiedBy>Efi Lutfillah</cp:lastModifiedBy>
  <cp:revision>280</cp:revision>
  <dcterms:created xsi:type="dcterms:W3CDTF">2014-11-03T09:38:15Z</dcterms:created>
  <dcterms:modified xsi:type="dcterms:W3CDTF">2018-08-28T10:01:26Z</dcterms:modified>
</cp:coreProperties>
</file>